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4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3" r:id="rId4"/>
    <p:sldMasterId id="2147483685" r:id="rId5"/>
    <p:sldMasterId id="2147483690" r:id="rId6"/>
    <p:sldMasterId id="2147483702" r:id="rId7"/>
    <p:sldMasterId id="2147483706" r:id="rId8"/>
  </p:sldMasterIdLst>
  <p:notesMasterIdLst>
    <p:notesMasterId r:id="rId26"/>
  </p:notesMasterIdLst>
  <p:sldIdLst>
    <p:sldId id="258" r:id="rId9"/>
    <p:sldId id="259" r:id="rId10"/>
    <p:sldId id="2145707370" r:id="rId11"/>
    <p:sldId id="2145707372" r:id="rId12"/>
    <p:sldId id="2145707371" r:id="rId13"/>
    <p:sldId id="2145707376" r:id="rId14"/>
    <p:sldId id="2145707377" r:id="rId15"/>
    <p:sldId id="2145707373" r:id="rId16"/>
    <p:sldId id="377" r:id="rId17"/>
    <p:sldId id="2145707369" r:id="rId18"/>
    <p:sldId id="2145707375" r:id="rId19"/>
    <p:sldId id="2147473618" r:id="rId20"/>
    <p:sldId id="2145707378" r:id="rId21"/>
    <p:sldId id="2145707379" r:id="rId22"/>
    <p:sldId id="2145707753" r:id="rId23"/>
    <p:sldId id="2145707754" r:id="rId24"/>
    <p:sldId id="302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5083A"/>
    <a:srgbClr val="4BACC6"/>
    <a:srgbClr val="4472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53EB1C4-F656-4622-9A0A-8393D44E82F4}" v="35" dt="2024-06-06T09:15:15.49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699" autoAdjust="0"/>
    <p:restoredTop sz="88227" autoAdjust="0"/>
  </p:normalViewPr>
  <p:slideViewPr>
    <p:cSldViewPr snapToGrid="0">
      <p:cViewPr varScale="1">
        <p:scale>
          <a:sx n="87" d="100"/>
          <a:sy n="87" d="100"/>
        </p:scale>
        <p:origin x="677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viewProps" Target="view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Somerset, Wiltshire, Avon &amp; Gloucestershire: </a:t>
            </a:r>
            <a:r>
              <a:rPr lang="en-GB" dirty="0"/>
              <a:t>Number of men undergoing radical prostatectomies (RP) in England and Wales by quarter (and by Cancer Alliance for England) from 1st January 2019 to 31st December 2022.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Table S7. RP'!$B$4</c:f>
              <c:strCache>
                <c:ptCount val="1"/>
                <c:pt idx="0">
                  <c:v>Cheshire and Merseyside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'Table S7. RP'!$C$3:$R$3</c:f>
              <c:strCache>
                <c:ptCount val="16"/>
                <c:pt idx="0">
                  <c:v>Q1 2019</c:v>
                </c:pt>
                <c:pt idx="1">
                  <c:v>Q2 2019</c:v>
                </c:pt>
                <c:pt idx="2">
                  <c:v>Q3 2019</c:v>
                </c:pt>
                <c:pt idx="3">
                  <c:v>Q4 2019</c:v>
                </c:pt>
                <c:pt idx="4">
                  <c:v>Q1 2020</c:v>
                </c:pt>
                <c:pt idx="5">
                  <c:v>Q2 2020</c:v>
                </c:pt>
                <c:pt idx="6">
                  <c:v>Q3 2020</c:v>
                </c:pt>
                <c:pt idx="7">
                  <c:v>Q4 2020</c:v>
                </c:pt>
                <c:pt idx="8">
                  <c:v>Q1 2021</c:v>
                </c:pt>
                <c:pt idx="9">
                  <c:v>Q2 2021</c:v>
                </c:pt>
                <c:pt idx="10">
                  <c:v>Q3 2021</c:v>
                </c:pt>
                <c:pt idx="11">
                  <c:v>Q4 2021</c:v>
                </c:pt>
                <c:pt idx="12">
                  <c:v>Q1 2022</c:v>
                </c:pt>
                <c:pt idx="13">
                  <c:v>Q2 2022</c:v>
                </c:pt>
                <c:pt idx="14">
                  <c:v>Q3 2022</c:v>
                </c:pt>
                <c:pt idx="15">
                  <c:v>Q4 2022</c:v>
                </c:pt>
              </c:strCache>
            </c:strRef>
          </c:cat>
          <c:val>
            <c:numRef>
              <c:f>'Table S7. RP'!$C$4:$R$4</c:f>
            </c:numRef>
          </c:val>
          <c:smooth val="0"/>
          <c:extLst>
            <c:ext xmlns:c16="http://schemas.microsoft.com/office/drawing/2014/chart" uri="{C3380CC4-5D6E-409C-BE32-E72D297353CC}">
              <c16:uniqueId val="{00000000-9630-46AA-AB54-3F72B08C258B}"/>
            </c:ext>
          </c:extLst>
        </c:ser>
        <c:ser>
          <c:idx val="1"/>
          <c:order val="1"/>
          <c:tx>
            <c:strRef>
              <c:f>'Table S7. RP'!$B$5</c:f>
              <c:strCache>
                <c:ptCount val="1"/>
                <c:pt idx="0">
                  <c:v>East Midland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'Table S7. RP'!$C$3:$R$3</c:f>
              <c:strCache>
                <c:ptCount val="16"/>
                <c:pt idx="0">
                  <c:v>Q1 2019</c:v>
                </c:pt>
                <c:pt idx="1">
                  <c:v>Q2 2019</c:v>
                </c:pt>
                <c:pt idx="2">
                  <c:v>Q3 2019</c:v>
                </c:pt>
                <c:pt idx="3">
                  <c:v>Q4 2019</c:v>
                </c:pt>
                <c:pt idx="4">
                  <c:v>Q1 2020</c:v>
                </c:pt>
                <c:pt idx="5">
                  <c:v>Q2 2020</c:v>
                </c:pt>
                <c:pt idx="6">
                  <c:v>Q3 2020</c:v>
                </c:pt>
                <c:pt idx="7">
                  <c:v>Q4 2020</c:v>
                </c:pt>
                <c:pt idx="8">
                  <c:v>Q1 2021</c:v>
                </c:pt>
                <c:pt idx="9">
                  <c:v>Q2 2021</c:v>
                </c:pt>
                <c:pt idx="10">
                  <c:v>Q3 2021</c:v>
                </c:pt>
                <c:pt idx="11">
                  <c:v>Q4 2021</c:v>
                </c:pt>
                <c:pt idx="12">
                  <c:v>Q1 2022</c:v>
                </c:pt>
                <c:pt idx="13">
                  <c:v>Q2 2022</c:v>
                </c:pt>
                <c:pt idx="14">
                  <c:v>Q3 2022</c:v>
                </c:pt>
                <c:pt idx="15">
                  <c:v>Q4 2022</c:v>
                </c:pt>
              </c:strCache>
            </c:strRef>
          </c:cat>
          <c:val>
            <c:numRef>
              <c:f>'Table S7. RP'!$C$5:$R$5</c:f>
            </c:numRef>
          </c:val>
          <c:smooth val="0"/>
          <c:extLst>
            <c:ext xmlns:c16="http://schemas.microsoft.com/office/drawing/2014/chart" uri="{C3380CC4-5D6E-409C-BE32-E72D297353CC}">
              <c16:uniqueId val="{00000001-9630-46AA-AB54-3F72B08C258B}"/>
            </c:ext>
          </c:extLst>
        </c:ser>
        <c:ser>
          <c:idx val="2"/>
          <c:order val="2"/>
          <c:tx>
            <c:strRef>
              <c:f>'Table S7. RP'!$B$6</c:f>
              <c:strCache>
                <c:ptCount val="1"/>
                <c:pt idx="0">
                  <c:v>East of England - North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'Table S7. RP'!$C$3:$R$3</c:f>
              <c:strCache>
                <c:ptCount val="16"/>
                <c:pt idx="0">
                  <c:v>Q1 2019</c:v>
                </c:pt>
                <c:pt idx="1">
                  <c:v>Q2 2019</c:v>
                </c:pt>
                <c:pt idx="2">
                  <c:v>Q3 2019</c:v>
                </c:pt>
                <c:pt idx="3">
                  <c:v>Q4 2019</c:v>
                </c:pt>
                <c:pt idx="4">
                  <c:v>Q1 2020</c:v>
                </c:pt>
                <c:pt idx="5">
                  <c:v>Q2 2020</c:v>
                </c:pt>
                <c:pt idx="6">
                  <c:v>Q3 2020</c:v>
                </c:pt>
                <c:pt idx="7">
                  <c:v>Q4 2020</c:v>
                </c:pt>
                <c:pt idx="8">
                  <c:v>Q1 2021</c:v>
                </c:pt>
                <c:pt idx="9">
                  <c:v>Q2 2021</c:v>
                </c:pt>
                <c:pt idx="10">
                  <c:v>Q3 2021</c:v>
                </c:pt>
                <c:pt idx="11">
                  <c:v>Q4 2021</c:v>
                </c:pt>
                <c:pt idx="12">
                  <c:v>Q1 2022</c:v>
                </c:pt>
                <c:pt idx="13">
                  <c:v>Q2 2022</c:v>
                </c:pt>
                <c:pt idx="14">
                  <c:v>Q3 2022</c:v>
                </c:pt>
                <c:pt idx="15">
                  <c:v>Q4 2022</c:v>
                </c:pt>
              </c:strCache>
            </c:strRef>
          </c:cat>
          <c:val>
            <c:numRef>
              <c:f>'Table S7. RP'!$C$6:$R$6</c:f>
            </c:numRef>
          </c:val>
          <c:smooth val="0"/>
          <c:extLst>
            <c:ext xmlns:c16="http://schemas.microsoft.com/office/drawing/2014/chart" uri="{C3380CC4-5D6E-409C-BE32-E72D297353CC}">
              <c16:uniqueId val="{00000002-9630-46AA-AB54-3F72B08C258B}"/>
            </c:ext>
          </c:extLst>
        </c:ser>
        <c:ser>
          <c:idx val="3"/>
          <c:order val="3"/>
          <c:tx>
            <c:strRef>
              <c:f>'Table S7. RP'!$B$7</c:f>
              <c:strCache>
                <c:ptCount val="1"/>
                <c:pt idx="0">
                  <c:v>East of England - South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strRef>
              <c:f>'Table S7. RP'!$C$3:$R$3</c:f>
              <c:strCache>
                <c:ptCount val="16"/>
                <c:pt idx="0">
                  <c:v>Q1 2019</c:v>
                </c:pt>
                <c:pt idx="1">
                  <c:v>Q2 2019</c:v>
                </c:pt>
                <c:pt idx="2">
                  <c:v>Q3 2019</c:v>
                </c:pt>
                <c:pt idx="3">
                  <c:v>Q4 2019</c:v>
                </c:pt>
                <c:pt idx="4">
                  <c:v>Q1 2020</c:v>
                </c:pt>
                <c:pt idx="5">
                  <c:v>Q2 2020</c:v>
                </c:pt>
                <c:pt idx="6">
                  <c:v>Q3 2020</c:v>
                </c:pt>
                <c:pt idx="7">
                  <c:v>Q4 2020</c:v>
                </c:pt>
                <c:pt idx="8">
                  <c:v>Q1 2021</c:v>
                </c:pt>
                <c:pt idx="9">
                  <c:v>Q2 2021</c:v>
                </c:pt>
                <c:pt idx="10">
                  <c:v>Q3 2021</c:v>
                </c:pt>
                <c:pt idx="11">
                  <c:v>Q4 2021</c:v>
                </c:pt>
                <c:pt idx="12">
                  <c:v>Q1 2022</c:v>
                </c:pt>
                <c:pt idx="13">
                  <c:v>Q2 2022</c:v>
                </c:pt>
                <c:pt idx="14">
                  <c:v>Q3 2022</c:v>
                </c:pt>
                <c:pt idx="15">
                  <c:v>Q4 2022</c:v>
                </c:pt>
              </c:strCache>
            </c:strRef>
          </c:cat>
          <c:val>
            <c:numRef>
              <c:f>'Table S7. RP'!$C$7:$R$7</c:f>
            </c:numRef>
          </c:val>
          <c:smooth val="0"/>
          <c:extLst>
            <c:ext xmlns:c16="http://schemas.microsoft.com/office/drawing/2014/chart" uri="{C3380CC4-5D6E-409C-BE32-E72D297353CC}">
              <c16:uniqueId val="{00000003-9630-46AA-AB54-3F72B08C258B}"/>
            </c:ext>
          </c:extLst>
        </c:ser>
        <c:ser>
          <c:idx val="4"/>
          <c:order val="4"/>
          <c:tx>
            <c:strRef>
              <c:f>'Table S7. RP'!$B$8</c:f>
              <c:strCache>
                <c:ptCount val="1"/>
                <c:pt idx="0">
                  <c:v>Greater Manchester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c:spPr>
          </c:marker>
          <c:cat>
            <c:strRef>
              <c:f>'Table S7. RP'!$C$3:$R$3</c:f>
              <c:strCache>
                <c:ptCount val="16"/>
                <c:pt idx="0">
                  <c:v>Q1 2019</c:v>
                </c:pt>
                <c:pt idx="1">
                  <c:v>Q2 2019</c:v>
                </c:pt>
                <c:pt idx="2">
                  <c:v>Q3 2019</c:v>
                </c:pt>
                <c:pt idx="3">
                  <c:v>Q4 2019</c:v>
                </c:pt>
                <c:pt idx="4">
                  <c:v>Q1 2020</c:v>
                </c:pt>
                <c:pt idx="5">
                  <c:v>Q2 2020</c:v>
                </c:pt>
                <c:pt idx="6">
                  <c:v>Q3 2020</c:v>
                </c:pt>
                <c:pt idx="7">
                  <c:v>Q4 2020</c:v>
                </c:pt>
                <c:pt idx="8">
                  <c:v>Q1 2021</c:v>
                </c:pt>
                <c:pt idx="9">
                  <c:v>Q2 2021</c:v>
                </c:pt>
                <c:pt idx="10">
                  <c:v>Q3 2021</c:v>
                </c:pt>
                <c:pt idx="11">
                  <c:v>Q4 2021</c:v>
                </c:pt>
                <c:pt idx="12">
                  <c:v>Q1 2022</c:v>
                </c:pt>
                <c:pt idx="13">
                  <c:v>Q2 2022</c:v>
                </c:pt>
                <c:pt idx="14">
                  <c:v>Q3 2022</c:v>
                </c:pt>
                <c:pt idx="15">
                  <c:v>Q4 2022</c:v>
                </c:pt>
              </c:strCache>
            </c:strRef>
          </c:cat>
          <c:val>
            <c:numRef>
              <c:f>'Table S7. RP'!$C$8:$R$8</c:f>
            </c:numRef>
          </c:val>
          <c:smooth val="0"/>
          <c:extLst>
            <c:ext xmlns:c16="http://schemas.microsoft.com/office/drawing/2014/chart" uri="{C3380CC4-5D6E-409C-BE32-E72D297353CC}">
              <c16:uniqueId val="{00000004-9630-46AA-AB54-3F72B08C258B}"/>
            </c:ext>
          </c:extLst>
        </c:ser>
        <c:ser>
          <c:idx val="5"/>
          <c:order val="5"/>
          <c:tx>
            <c:strRef>
              <c:f>'Table S7. RP'!$B$9</c:f>
              <c:strCache>
                <c:ptCount val="1"/>
                <c:pt idx="0">
                  <c:v>Humber, Coast and Vale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cat>
            <c:strRef>
              <c:f>'Table S7. RP'!$C$3:$R$3</c:f>
              <c:strCache>
                <c:ptCount val="16"/>
                <c:pt idx="0">
                  <c:v>Q1 2019</c:v>
                </c:pt>
                <c:pt idx="1">
                  <c:v>Q2 2019</c:v>
                </c:pt>
                <c:pt idx="2">
                  <c:v>Q3 2019</c:v>
                </c:pt>
                <c:pt idx="3">
                  <c:v>Q4 2019</c:v>
                </c:pt>
                <c:pt idx="4">
                  <c:v>Q1 2020</c:v>
                </c:pt>
                <c:pt idx="5">
                  <c:v>Q2 2020</c:v>
                </c:pt>
                <c:pt idx="6">
                  <c:v>Q3 2020</c:v>
                </c:pt>
                <c:pt idx="7">
                  <c:v>Q4 2020</c:v>
                </c:pt>
                <c:pt idx="8">
                  <c:v>Q1 2021</c:v>
                </c:pt>
                <c:pt idx="9">
                  <c:v>Q2 2021</c:v>
                </c:pt>
                <c:pt idx="10">
                  <c:v>Q3 2021</c:v>
                </c:pt>
                <c:pt idx="11">
                  <c:v>Q4 2021</c:v>
                </c:pt>
                <c:pt idx="12">
                  <c:v>Q1 2022</c:v>
                </c:pt>
                <c:pt idx="13">
                  <c:v>Q2 2022</c:v>
                </c:pt>
                <c:pt idx="14">
                  <c:v>Q3 2022</c:v>
                </c:pt>
                <c:pt idx="15">
                  <c:v>Q4 2022</c:v>
                </c:pt>
              </c:strCache>
            </c:strRef>
          </c:cat>
          <c:val>
            <c:numRef>
              <c:f>'Table S7. RP'!$C$9:$R$9</c:f>
            </c:numRef>
          </c:val>
          <c:smooth val="0"/>
          <c:extLst>
            <c:ext xmlns:c16="http://schemas.microsoft.com/office/drawing/2014/chart" uri="{C3380CC4-5D6E-409C-BE32-E72D297353CC}">
              <c16:uniqueId val="{00000005-9630-46AA-AB54-3F72B08C258B}"/>
            </c:ext>
          </c:extLst>
        </c:ser>
        <c:ser>
          <c:idx val="6"/>
          <c:order val="6"/>
          <c:tx>
            <c:strRef>
              <c:f>'Table S7. RP'!$B$10</c:f>
              <c:strCache>
                <c:ptCount val="1"/>
                <c:pt idx="0">
                  <c:v>Kent and Medway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60000"/>
                </a:schemeClr>
              </a:solidFill>
              <a:ln w="9525">
                <a:solidFill>
                  <a:schemeClr val="accent1">
                    <a:lumMod val="60000"/>
                  </a:schemeClr>
                </a:solidFill>
              </a:ln>
              <a:effectLst/>
            </c:spPr>
          </c:marker>
          <c:cat>
            <c:strRef>
              <c:f>'Table S7. RP'!$C$3:$R$3</c:f>
              <c:strCache>
                <c:ptCount val="16"/>
                <c:pt idx="0">
                  <c:v>Q1 2019</c:v>
                </c:pt>
                <c:pt idx="1">
                  <c:v>Q2 2019</c:v>
                </c:pt>
                <c:pt idx="2">
                  <c:v>Q3 2019</c:v>
                </c:pt>
                <c:pt idx="3">
                  <c:v>Q4 2019</c:v>
                </c:pt>
                <c:pt idx="4">
                  <c:v>Q1 2020</c:v>
                </c:pt>
                <c:pt idx="5">
                  <c:v>Q2 2020</c:v>
                </c:pt>
                <c:pt idx="6">
                  <c:v>Q3 2020</c:v>
                </c:pt>
                <c:pt idx="7">
                  <c:v>Q4 2020</c:v>
                </c:pt>
                <c:pt idx="8">
                  <c:v>Q1 2021</c:v>
                </c:pt>
                <c:pt idx="9">
                  <c:v>Q2 2021</c:v>
                </c:pt>
                <c:pt idx="10">
                  <c:v>Q3 2021</c:v>
                </c:pt>
                <c:pt idx="11">
                  <c:v>Q4 2021</c:v>
                </c:pt>
                <c:pt idx="12">
                  <c:v>Q1 2022</c:v>
                </c:pt>
                <c:pt idx="13">
                  <c:v>Q2 2022</c:v>
                </c:pt>
                <c:pt idx="14">
                  <c:v>Q3 2022</c:v>
                </c:pt>
                <c:pt idx="15">
                  <c:v>Q4 2022</c:v>
                </c:pt>
              </c:strCache>
            </c:strRef>
          </c:cat>
          <c:val>
            <c:numRef>
              <c:f>'Table S7. RP'!$C$10:$R$10</c:f>
            </c:numRef>
          </c:val>
          <c:smooth val="0"/>
          <c:extLst>
            <c:ext xmlns:c16="http://schemas.microsoft.com/office/drawing/2014/chart" uri="{C3380CC4-5D6E-409C-BE32-E72D297353CC}">
              <c16:uniqueId val="{00000006-9630-46AA-AB54-3F72B08C258B}"/>
            </c:ext>
          </c:extLst>
        </c:ser>
        <c:ser>
          <c:idx val="7"/>
          <c:order val="7"/>
          <c:tx>
            <c:strRef>
              <c:f>'Table S7. RP'!$B$11</c:f>
              <c:strCache>
                <c:ptCount val="1"/>
                <c:pt idx="0">
                  <c:v>Lancashire and South Cumbria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60000"/>
                </a:schemeClr>
              </a:solidFill>
              <a:ln w="9525">
                <a:solidFill>
                  <a:schemeClr val="accent2">
                    <a:lumMod val="60000"/>
                  </a:schemeClr>
                </a:solidFill>
              </a:ln>
              <a:effectLst/>
            </c:spPr>
          </c:marker>
          <c:cat>
            <c:strRef>
              <c:f>'Table S7. RP'!$C$3:$R$3</c:f>
              <c:strCache>
                <c:ptCount val="16"/>
                <c:pt idx="0">
                  <c:v>Q1 2019</c:v>
                </c:pt>
                <c:pt idx="1">
                  <c:v>Q2 2019</c:v>
                </c:pt>
                <c:pt idx="2">
                  <c:v>Q3 2019</c:v>
                </c:pt>
                <c:pt idx="3">
                  <c:v>Q4 2019</c:v>
                </c:pt>
                <c:pt idx="4">
                  <c:v>Q1 2020</c:v>
                </c:pt>
                <c:pt idx="5">
                  <c:v>Q2 2020</c:v>
                </c:pt>
                <c:pt idx="6">
                  <c:v>Q3 2020</c:v>
                </c:pt>
                <c:pt idx="7">
                  <c:v>Q4 2020</c:v>
                </c:pt>
                <c:pt idx="8">
                  <c:v>Q1 2021</c:v>
                </c:pt>
                <c:pt idx="9">
                  <c:v>Q2 2021</c:v>
                </c:pt>
                <c:pt idx="10">
                  <c:v>Q3 2021</c:v>
                </c:pt>
                <c:pt idx="11">
                  <c:v>Q4 2021</c:v>
                </c:pt>
                <c:pt idx="12">
                  <c:v>Q1 2022</c:v>
                </c:pt>
                <c:pt idx="13">
                  <c:v>Q2 2022</c:v>
                </c:pt>
                <c:pt idx="14">
                  <c:v>Q3 2022</c:v>
                </c:pt>
                <c:pt idx="15">
                  <c:v>Q4 2022</c:v>
                </c:pt>
              </c:strCache>
            </c:strRef>
          </c:cat>
          <c:val>
            <c:numRef>
              <c:f>'Table S7. RP'!$C$11:$R$11</c:f>
            </c:numRef>
          </c:val>
          <c:smooth val="0"/>
          <c:extLst>
            <c:ext xmlns:c16="http://schemas.microsoft.com/office/drawing/2014/chart" uri="{C3380CC4-5D6E-409C-BE32-E72D297353CC}">
              <c16:uniqueId val="{00000007-9630-46AA-AB54-3F72B08C258B}"/>
            </c:ext>
          </c:extLst>
        </c:ser>
        <c:ser>
          <c:idx val="8"/>
          <c:order val="8"/>
          <c:tx>
            <c:strRef>
              <c:f>'Table S7. RP'!$B$12</c:f>
              <c:strCache>
                <c:ptCount val="1"/>
                <c:pt idx="0">
                  <c:v>North Central London</c:v>
                </c:pt>
              </c:strCache>
            </c:strRef>
          </c:tx>
          <c:spPr>
            <a:ln w="2857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60000"/>
                </a:schemeClr>
              </a:solidFill>
              <a:ln w="9525">
                <a:solidFill>
                  <a:schemeClr val="accent3">
                    <a:lumMod val="60000"/>
                  </a:schemeClr>
                </a:solidFill>
              </a:ln>
              <a:effectLst/>
            </c:spPr>
          </c:marker>
          <c:cat>
            <c:strRef>
              <c:f>'Table S7. RP'!$C$3:$R$3</c:f>
              <c:strCache>
                <c:ptCount val="16"/>
                <c:pt idx="0">
                  <c:v>Q1 2019</c:v>
                </c:pt>
                <c:pt idx="1">
                  <c:v>Q2 2019</c:v>
                </c:pt>
                <c:pt idx="2">
                  <c:v>Q3 2019</c:v>
                </c:pt>
                <c:pt idx="3">
                  <c:v>Q4 2019</c:v>
                </c:pt>
                <c:pt idx="4">
                  <c:v>Q1 2020</c:v>
                </c:pt>
                <c:pt idx="5">
                  <c:v>Q2 2020</c:v>
                </c:pt>
                <c:pt idx="6">
                  <c:v>Q3 2020</c:v>
                </c:pt>
                <c:pt idx="7">
                  <c:v>Q4 2020</c:v>
                </c:pt>
                <c:pt idx="8">
                  <c:v>Q1 2021</c:v>
                </c:pt>
                <c:pt idx="9">
                  <c:v>Q2 2021</c:v>
                </c:pt>
                <c:pt idx="10">
                  <c:v>Q3 2021</c:v>
                </c:pt>
                <c:pt idx="11">
                  <c:v>Q4 2021</c:v>
                </c:pt>
                <c:pt idx="12">
                  <c:v>Q1 2022</c:v>
                </c:pt>
                <c:pt idx="13">
                  <c:v>Q2 2022</c:v>
                </c:pt>
                <c:pt idx="14">
                  <c:v>Q3 2022</c:v>
                </c:pt>
                <c:pt idx="15">
                  <c:v>Q4 2022</c:v>
                </c:pt>
              </c:strCache>
            </c:strRef>
          </c:cat>
          <c:val>
            <c:numRef>
              <c:f>'Table S7. RP'!$C$12:$R$12</c:f>
            </c:numRef>
          </c:val>
          <c:smooth val="0"/>
          <c:extLst>
            <c:ext xmlns:c16="http://schemas.microsoft.com/office/drawing/2014/chart" uri="{C3380CC4-5D6E-409C-BE32-E72D297353CC}">
              <c16:uniqueId val="{00000008-9630-46AA-AB54-3F72B08C258B}"/>
            </c:ext>
          </c:extLst>
        </c:ser>
        <c:ser>
          <c:idx val="9"/>
          <c:order val="9"/>
          <c:tx>
            <c:strRef>
              <c:f>'Table S7. RP'!$B$13</c:f>
              <c:strCache>
                <c:ptCount val="1"/>
                <c:pt idx="0">
                  <c:v>Northern</c:v>
                </c:pt>
              </c:strCache>
            </c:strRef>
          </c:tx>
          <c:spPr>
            <a:ln w="28575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60000"/>
                </a:schemeClr>
              </a:solidFill>
              <a:ln w="9525">
                <a:solidFill>
                  <a:schemeClr val="accent4">
                    <a:lumMod val="60000"/>
                  </a:schemeClr>
                </a:solidFill>
              </a:ln>
              <a:effectLst/>
            </c:spPr>
          </c:marker>
          <c:cat>
            <c:strRef>
              <c:f>'Table S7. RP'!$C$3:$R$3</c:f>
              <c:strCache>
                <c:ptCount val="16"/>
                <c:pt idx="0">
                  <c:v>Q1 2019</c:v>
                </c:pt>
                <c:pt idx="1">
                  <c:v>Q2 2019</c:v>
                </c:pt>
                <c:pt idx="2">
                  <c:v>Q3 2019</c:v>
                </c:pt>
                <c:pt idx="3">
                  <c:v>Q4 2019</c:v>
                </c:pt>
                <c:pt idx="4">
                  <c:v>Q1 2020</c:v>
                </c:pt>
                <c:pt idx="5">
                  <c:v>Q2 2020</c:v>
                </c:pt>
                <c:pt idx="6">
                  <c:v>Q3 2020</c:v>
                </c:pt>
                <c:pt idx="7">
                  <c:v>Q4 2020</c:v>
                </c:pt>
                <c:pt idx="8">
                  <c:v>Q1 2021</c:v>
                </c:pt>
                <c:pt idx="9">
                  <c:v>Q2 2021</c:v>
                </c:pt>
                <c:pt idx="10">
                  <c:v>Q3 2021</c:v>
                </c:pt>
                <c:pt idx="11">
                  <c:v>Q4 2021</c:v>
                </c:pt>
                <c:pt idx="12">
                  <c:v>Q1 2022</c:v>
                </c:pt>
                <c:pt idx="13">
                  <c:v>Q2 2022</c:v>
                </c:pt>
                <c:pt idx="14">
                  <c:v>Q3 2022</c:v>
                </c:pt>
                <c:pt idx="15">
                  <c:v>Q4 2022</c:v>
                </c:pt>
              </c:strCache>
            </c:strRef>
          </c:cat>
          <c:val>
            <c:numRef>
              <c:f>'Table S7. RP'!$C$13:$R$13</c:f>
            </c:numRef>
          </c:val>
          <c:smooth val="0"/>
          <c:extLst>
            <c:ext xmlns:c16="http://schemas.microsoft.com/office/drawing/2014/chart" uri="{C3380CC4-5D6E-409C-BE32-E72D297353CC}">
              <c16:uniqueId val="{00000009-9630-46AA-AB54-3F72B08C258B}"/>
            </c:ext>
          </c:extLst>
        </c:ser>
        <c:ser>
          <c:idx val="10"/>
          <c:order val="10"/>
          <c:tx>
            <c:strRef>
              <c:f>'Table S7. RP'!$B$14</c:f>
              <c:strCache>
                <c:ptCount val="1"/>
                <c:pt idx="0">
                  <c:v>Peninsula </c:v>
                </c:pt>
              </c:strCache>
            </c:strRef>
          </c:tx>
          <c:spPr>
            <a:ln w="28575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60000"/>
                </a:schemeClr>
              </a:solidFill>
              <a:ln w="9525">
                <a:solidFill>
                  <a:schemeClr val="accent5">
                    <a:lumMod val="60000"/>
                  </a:schemeClr>
                </a:solidFill>
              </a:ln>
              <a:effectLst/>
            </c:spPr>
          </c:marker>
          <c:cat>
            <c:strRef>
              <c:f>'Table S7. RP'!$C$3:$R$3</c:f>
              <c:strCache>
                <c:ptCount val="16"/>
                <c:pt idx="0">
                  <c:v>Q1 2019</c:v>
                </c:pt>
                <c:pt idx="1">
                  <c:v>Q2 2019</c:v>
                </c:pt>
                <c:pt idx="2">
                  <c:v>Q3 2019</c:v>
                </c:pt>
                <c:pt idx="3">
                  <c:v>Q4 2019</c:v>
                </c:pt>
                <c:pt idx="4">
                  <c:v>Q1 2020</c:v>
                </c:pt>
                <c:pt idx="5">
                  <c:v>Q2 2020</c:v>
                </c:pt>
                <c:pt idx="6">
                  <c:v>Q3 2020</c:v>
                </c:pt>
                <c:pt idx="7">
                  <c:v>Q4 2020</c:v>
                </c:pt>
                <c:pt idx="8">
                  <c:v>Q1 2021</c:v>
                </c:pt>
                <c:pt idx="9">
                  <c:v>Q2 2021</c:v>
                </c:pt>
                <c:pt idx="10">
                  <c:v>Q3 2021</c:v>
                </c:pt>
                <c:pt idx="11">
                  <c:v>Q4 2021</c:v>
                </c:pt>
                <c:pt idx="12">
                  <c:v>Q1 2022</c:v>
                </c:pt>
                <c:pt idx="13">
                  <c:v>Q2 2022</c:v>
                </c:pt>
                <c:pt idx="14">
                  <c:v>Q3 2022</c:v>
                </c:pt>
                <c:pt idx="15">
                  <c:v>Q4 2022</c:v>
                </c:pt>
              </c:strCache>
            </c:strRef>
          </c:cat>
          <c:val>
            <c:numRef>
              <c:f>'Table S7. RP'!$C$14:$R$14</c:f>
            </c:numRef>
          </c:val>
          <c:smooth val="0"/>
          <c:extLst>
            <c:ext xmlns:c16="http://schemas.microsoft.com/office/drawing/2014/chart" uri="{C3380CC4-5D6E-409C-BE32-E72D297353CC}">
              <c16:uniqueId val="{0000000A-9630-46AA-AB54-3F72B08C258B}"/>
            </c:ext>
          </c:extLst>
        </c:ser>
        <c:ser>
          <c:idx val="11"/>
          <c:order val="11"/>
          <c:tx>
            <c:strRef>
              <c:f>'Table S7. RP'!$B$15</c:f>
              <c:strCache>
                <c:ptCount val="1"/>
                <c:pt idx="0">
                  <c:v>Somerset, Wiltshire, Avon &amp; Gloucestershire</c:v>
                </c:pt>
              </c:strCache>
            </c:strRef>
          </c:tx>
          <c:spPr>
            <a:ln w="28575" cap="rnd">
              <a:solidFill>
                <a:schemeClr val="accent6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Table S7. RP'!$C$3:$R$3</c:f>
              <c:strCache>
                <c:ptCount val="16"/>
                <c:pt idx="0">
                  <c:v>Q1 2019</c:v>
                </c:pt>
                <c:pt idx="1">
                  <c:v>Q2 2019</c:v>
                </c:pt>
                <c:pt idx="2">
                  <c:v>Q3 2019</c:v>
                </c:pt>
                <c:pt idx="3">
                  <c:v>Q4 2019</c:v>
                </c:pt>
                <c:pt idx="4">
                  <c:v>Q1 2020</c:v>
                </c:pt>
                <c:pt idx="5">
                  <c:v>Q2 2020</c:v>
                </c:pt>
                <c:pt idx="6">
                  <c:v>Q3 2020</c:v>
                </c:pt>
                <c:pt idx="7">
                  <c:v>Q4 2020</c:v>
                </c:pt>
                <c:pt idx="8">
                  <c:v>Q1 2021</c:v>
                </c:pt>
                <c:pt idx="9">
                  <c:v>Q2 2021</c:v>
                </c:pt>
                <c:pt idx="10">
                  <c:v>Q3 2021</c:v>
                </c:pt>
                <c:pt idx="11">
                  <c:v>Q4 2021</c:v>
                </c:pt>
                <c:pt idx="12">
                  <c:v>Q1 2022</c:v>
                </c:pt>
                <c:pt idx="13">
                  <c:v>Q2 2022</c:v>
                </c:pt>
                <c:pt idx="14">
                  <c:v>Q3 2022</c:v>
                </c:pt>
                <c:pt idx="15">
                  <c:v>Q4 2022</c:v>
                </c:pt>
              </c:strCache>
            </c:strRef>
          </c:cat>
          <c:val>
            <c:numRef>
              <c:f>'Table S7. RP'!$C$15:$R$15</c:f>
              <c:numCache>
                <c:formatCode>0</c:formatCode>
                <c:ptCount val="16"/>
                <c:pt idx="0">
                  <c:v>125</c:v>
                </c:pt>
                <c:pt idx="1">
                  <c:v>147</c:v>
                </c:pt>
                <c:pt idx="2">
                  <c:v>128</c:v>
                </c:pt>
                <c:pt idx="3">
                  <c:v>153</c:v>
                </c:pt>
                <c:pt idx="4">
                  <c:v>128</c:v>
                </c:pt>
                <c:pt idx="5">
                  <c:v>101</c:v>
                </c:pt>
                <c:pt idx="6">
                  <c:v>101</c:v>
                </c:pt>
                <c:pt idx="7">
                  <c:v>94</c:v>
                </c:pt>
                <c:pt idx="8">
                  <c:v>114</c:v>
                </c:pt>
                <c:pt idx="9">
                  <c:v>109</c:v>
                </c:pt>
                <c:pt idx="10">
                  <c:v>76</c:v>
                </c:pt>
                <c:pt idx="11">
                  <c:v>93</c:v>
                </c:pt>
                <c:pt idx="12">
                  <c:v>107</c:v>
                </c:pt>
                <c:pt idx="13">
                  <c:v>107</c:v>
                </c:pt>
                <c:pt idx="14">
                  <c:v>125</c:v>
                </c:pt>
                <c:pt idx="15">
                  <c:v>1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9630-46AA-AB54-3F72B08C25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87914143"/>
        <c:axId val="2009125007"/>
      </c:lineChart>
      <c:catAx>
        <c:axId val="28791414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09125007"/>
        <c:crosses val="autoZero"/>
        <c:auto val="1"/>
        <c:lblAlgn val="ctr"/>
        <c:lblOffset val="100"/>
        <c:noMultiLvlLbl val="0"/>
      </c:catAx>
      <c:valAx>
        <c:axId val="200912500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791414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Somerset, Wiltshire, Avon &amp; Gloucestershire: </a:t>
            </a:r>
            <a:r>
              <a:rPr lang="en-GB" dirty="0"/>
              <a:t>Number of patients receiving radiotherapy (RT) in England and Wales by quarter (and by Cancer Alliance for England) from 1st January 2019 to 31st December 2022.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Table S9. RT'!$B$4</c:f>
              <c:strCache>
                <c:ptCount val="1"/>
                <c:pt idx="0">
                  <c:v>Cheshire and Merseyside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'Table S9. RT'!$C$3:$R$3</c:f>
              <c:strCache>
                <c:ptCount val="16"/>
                <c:pt idx="0">
                  <c:v>Q1 2019</c:v>
                </c:pt>
                <c:pt idx="1">
                  <c:v>Q2 2019</c:v>
                </c:pt>
                <c:pt idx="2">
                  <c:v>Q3 2019</c:v>
                </c:pt>
                <c:pt idx="3">
                  <c:v>Q4 2019</c:v>
                </c:pt>
                <c:pt idx="4">
                  <c:v>Q1 2020</c:v>
                </c:pt>
                <c:pt idx="5">
                  <c:v>Q2 2020</c:v>
                </c:pt>
                <c:pt idx="6">
                  <c:v>Q3 2020</c:v>
                </c:pt>
                <c:pt idx="7">
                  <c:v>Q4 2020</c:v>
                </c:pt>
                <c:pt idx="8">
                  <c:v>Q1 2021</c:v>
                </c:pt>
                <c:pt idx="9">
                  <c:v>Q2 2021</c:v>
                </c:pt>
                <c:pt idx="10">
                  <c:v>Q3 2021</c:v>
                </c:pt>
                <c:pt idx="11">
                  <c:v>Q4 2021</c:v>
                </c:pt>
                <c:pt idx="12">
                  <c:v>Q1 2022</c:v>
                </c:pt>
                <c:pt idx="13">
                  <c:v>Q2 2022</c:v>
                </c:pt>
                <c:pt idx="14">
                  <c:v>Q3 2022</c:v>
                </c:pt>
                <c:pt idx="15">
                  <c:v>Q4 2022</c:v>
                </c:pt>
              </c:strCache>
            </c:strRef>
          </c:cat>
          <c:val>
            <c:numRef>
              <c:f>'Table S9. RT'!$C$4:$R$4</c:f>
            </c:numRef>
          </c:val>
          <c:smooth val="0"/>
          <c:extLst>
            <c:ext xmlns:c16="http://schemas.microsoft.com/office/drawing/2014/chart" uri="{C3380CC4-5D6E-409C-BE32-E72D297353CC}">
              <c16:uniqueId val="{00000000-36A2-4245-949C-309EF841D48A}"/>
            </c:ext>
          </c:extLst>
        </c:ser>
        <c:ser>
          <c:idx val="1"/>
          <c:order val="1"/>
          <c:tx>
            <c:strRef>
              <c:f>'Table S9. RT'!$B$5</c:f>
              <c:strCache>
                <c:ptCount val="1"/>
                <c:pt idx="0">
                  <c:v>East Midland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'Table S9. RT'!$C$3:$R$3</c:f>
              <c:strCache>
                <c:ptCount val="16"/>
                <c:pt idx="0">
                  <c:v>Q1 2019</c:v>
                </c:pt>
                <c:pt idx="1">
                  <c:v>Q2 2019</c:v>
                </c:pt>
                <c:pt idx="2">
                  <c:v>Q3 2019</c:v>
                </c:pt>
                <c:pt idx="3">
                  <c:v>Q4 2019</c:v>
                </c:pt>
                <c:pt idx="4">
                  <c:v>Q1 2020</c:v>
                </c:pt>
                <c:pt idx="5">
                  <c:v>Q2 2020</c:v>
                </c:pt>
                <c:pt idx="6">
                  <c:v>Q3 2020</c:v>
                </c:pt>
                <c:pt idx="7">
                  <c:v>Q4 2020</c:v>
                </c:pt>
                <c:pt idx="8">
                  <c:v>Q1 2021</c:v>
                </c:pt>
                <c:pt idx="9">
                  <c:v>Q2 2021</c:v>
                </c:pt>
                <c:pt idx="10">
                  <c:v>Q3 2021</c:v>
                </c:pt>
                <c:pt idx="11">
                  <c:v>Q4 2021</c:v>
                </c:pt>
                <c:pt idx="12">
                  <c:v>Q1 2022</c:v>
                </c:pt>
                <c:pt idx="13">
                  <c:v>Q2 2022</c:v>
                </c:pt>
                <c:pt idx="14">
                  <c:v>Q3 2022</c:v>
                </c:pt>
                <c:pt idx="15">
                  <c:v>Q4 2022</c:v>
                </c:pt>
              </c:strCache>
            </c:strRef>
          </c:cat>
          <c:val>
            <c:numRef>
              <c:f>'Table S9. RT'!$C$5:$R$5</c:f>
            </c:numRef>
          </c:val>
          <c:smooth val="0"/>
          <c:extLst>
            <c:ext xmlns:c16="http://schemas.microsoft.com/office/drawing/2014/chart" uri="{C3380CC4-5D6E-409C-BE32-E72D297353CC}">
              <c16:uniqueId val="{00000001-36A2-4245-949C-309EF841D48A}"/>
            </c:ext>
          </c:extLst>
        </c:ser>
        <c:ser>
          <c:idx val="2"/>
          <c:order val="2"/>
          <c:tx>
            <c:strRef>
              <c:f>'Table S9. RT'!$B$6</c:f>
              <c:strCache>
                <c:ptCount val="1"/>
                <c:pt idx="0">
                  <c:v>East of England - North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'Table S9. RT'!$C$3:$R$3</c:f>
              <c:strCache>
                <c:ptCount val="16"/>
                <c:pt idx="0">
                  <c:v>Q1 2019</c:v>
                </c:pt>
                <c:pt idx="1">
                  <c:v>Q2 2019</c:v>
                </c:pt>
                <c:pt idx="2">
                  <c:v>Q3 2019</c:v>
                </c:pt>
                <c:pt idx="3">
                  <c:v>Q4 2019</c:v>
                </c:pt>
                <c:pt idx="4">
                  <c:v>Q1 2020</c:v>
                </c:pt>
                <c:pt idx="5">
                  <c:v>Q2 2020</c:v>
                </c:pt>
                <c:pt idx="6">
                  <c:v>Q3 2020</c:v>
                </c:pt>
                <c:pt idx="7">
                  <c:v>Q4 2020</c:v>
                </c:pt>
                <c:pt idx="8">
                  <c:v>Q1 2021</c:v>
                </c:pt>
                <c:pt idx="9">
                  <c:v>Q2 2021</c:v>
                </c:pt>
                <c:pt idx="10">
                  <c:v>Q3 2021</c:v>
                </c:pt>
                <c:pt idx="11">
                  <c:v>Q4 2021</c:v>
                </c:pt>
                <c:pt idx="12">
                  <c:v>Q1 2022</c:v>
                </c:pt>
                <c:pt idx="13">
                  <c:v>Q2 2022</c:v>
                </c:pt>
                <c:pt idx="14">
                  <c:v>Q3 2022</c:v>
                </c:pt>
                <c:pt idx="15">
                  <c:v>Q4 2022</c:v>
                </c:pt>
              </c:strCache>
            </c:strRef>
          </c:cat>
          <c:val>
            <c:numRef>
              <c:f>'Table S9. RT'!$C$6:$R$6</c:f>
            </c:numRef>
          </c:val>
          <c:smooth val="0"/>
          <c:extLst>
            <c:ext xmlns:c16="http://schemas.microsoft.com/office/drawing/2014/chart" uri="{C3380CC4-5D6E-409C-BE32-E72D297353CC}">
              <c16:uniqueId val="{00000002-36A2-4245-949C-309EF841D48A}"/>
            </c:ext>
          </c:extLst>
        </c:ser>
        <c:ser>
          <c:idx val="3"/>
          <c:order val="3"/>
          <c:tx>
            <c:strRef>
              <c:f>'Table S9. RT'!$B$7</c:f>
              <c:strCache>
                <c:ptCount val="1"/>
                <c:pt idx="0">
                  <c:v>East of England - South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strRef>
              <c:f>'Table S9. RT'!$C$3:$R$3</c:f>
              <c:strCache>
                <c:ptCount val="16"/>
                <c:pt idx="0">
                  <c:v>Q1 2019</c:v>
                </c:pt>
                <c:pt idx="1">
                  <c:v>Q2 2019</c:v>
                </c:pt>
                <c:pt idx="2">
                  <c:v>Q3 2019</c:v>
                </c:pt>
                <c:pt idx="3">
                  <c:v>Q4 2019</c:v>
                </c:pt>
                <c:pt idx="4">
                  <c:v>Q1 2020</c:v>
                </c:pt>
                <c:pt idx="5">
                  <c:v>Q2 2020</c:v>
                </c:pt>
                <c:pt idx="6">
                  <c:v>Q3 2020</c:v>
                </c:pt>
                <c:pt idx="7">
                  <c:v>Q4 2020</c:v>
                </c:pt>
                <c:pt idx="8">
                  <c:v>Q1 2021</c:v>
                </c:pt>
                <c:pt idx="9">
                  <c:v>Q2 2021</c:v>
                </c:pt>
                <c:pt idx="10">
                  <c:v>Q3 2021</c:v>
                </c:pt>
                <c:pt idx="11">
                  <c:v>Q4 2021</c:v>
                </c:pt>
                <c:pt idx="12">
                  <c:v>Q1 2022</c:v>
                </c:pt>
                <c:pt idx="13">
                  <c:v>Q2 2022</c:v>
                </c:pt>
                <c:pt idx="14">
                  <c:v>Q3 2022</c:v>
                </c:pt>
                <c:pt idx="15">
                  <c:v>Q4 2022</c:v>
                </c:pt>
              </c:strCache>
            </c:strRef>
          </c:cat>
          <c:val>
            <c:numRef>
              <c:f>'Table S9. RT'!$C$7:$R$7</c:f>
            </c:numRef>
          </c:val>
          <c:smooth val="0"/>
          <c:extLst>
            <c:ext xmlns:c16="http://schemas.microsoft.com/office/drawing/2014/chart" uri="{C3380CC4-5D6E-409C-BE32-E72D297353CC}">
              <c16:uniqueId val="{00000003-36A2-4245-949C-309EF841D48A}"/>
            </c:ext>
          </c:extLst>
        </c:ser>
        <c:ser>
          <c:idx val="4"/>
          <c:order val="4"/>
          <c:tx>
            <c:strRef>
              <c:f>'Table S9. RT'!$B$8</c:f>
              <c:strCache>
                <c:ptCount val="1"/>
                <c:pt idx="0">
                  <c:v>Greater Manchester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c:spPr>
          </c:marker>
          <c:cat>
            <c:strRef>
              <c:f>'Table S9. RT'!$C$3:$R$3</c:f>
              <c:strCache>
                <c:ptCount val="16"/>
                <c:pt idx="0">
                  <c:v>Q1 2019</c:v>
                </c:pt>
                <c:pt idx="1">
                  <c:v>Q2 2019</c:v>
                </c:pt>
                <c:pt idx="2">
                  <c:v>Q3 2019</c:v>
                </c:pt>
                <c:pt idx="3">
                  <c:v>Q4 2019</c:v>
                </c:pt>
                <c:pt idx="4">
                  <c:v>Q1 2020</c:v>
                </c:pt>
                <c:pt idx="5">
                  <c:v>Q2 2020</c:v>
                </c:pt>
                <c:pt idx="6">
                  <c:v>Q3 2020</c:v>
                </c:pt>
                <c:pt idx="7">
                  <c:v>Q4 2020</c:v>
                </c:pt>
                <c:pt idx="8">
                  <c:v>Q1 2021</c:v>
                </c:pt>
                <c:pt idx="9">
                  <c:v>Q2 2021</c:v>
                </c:pt>
                <c:pt idx="10">
                  <c:v>Q3 2021</c:v>
                </c:pt>
                <c:pt idx="11">
                  <c:v>Q4 2021</c:v>
                </c:pt>
                <c:pt idx="12">
                  <c:v>Q1 2022</c:v>
                </c:pt>
                <c:pt idx="13">
                  <c:v>Q2 2022</c:v>
                </c:pt>
                <c:pt idx="14">
                  <c:v>Q3 2022</c:v>
                </c:pt>
                <c:pt idx="15">
                  <c:v>Q4 2022</c:v>
                </c:pt>
              </c:strCache>
            </c:strRef>
          </c:cat>
          <c:val>
            <c:numRef>
              <c:f>'Table S9. RT'!$C$8:$R$8</c:f>
            </c:numRef>
          </c:val>
          <c:smooth val="0"/>
          <c:extLst>
            <c:ext xmlns:c16="http://schemas.microsoft.com/office/drawing/2014/chart" uri="{C3380CC4-5D6E-409C-BE32-E72D297353CC}">
              <c16:uniqueId val="{00000004-36A2-4245-949C-309EF841D48A}"/>
            </c:ext>
          </c:extLst>
        </c:ser>
        <c:ser>
          <c:idx val="5"/>
          <c:order val="5"/>
          <c:tx>
            <c:strRef>
              <c:f>'Table S9. RT'!$B$9</c:f>
              <c:strCache>
                <c:ptCount val="1"/>
                <c:pt idx="0">
                  <c:v>Humber, Coast and Vale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cat>
            <c:strRef>
              <c:f>'Table S9. RT'!$C$3:$R$3</c:f>
              <c:strCache>
                <c:ptCount val="16"/>
                <c:pt idx="0">
                  <c:v>Q1 2019</c:v>
                </c:pt>
                <c:pt idx="1">
                  <c:v>Q2 2019</c:v>
                </c:pt>
                <c:pt idx="2">
                  <c:v>Q3 2019</c:v>
                </c:pt>
                <c:pt idx="3">
                  <c:v>Q4 2019</c:v>
                </c:pt>
                <c:pt idx="4">
                  <c:v>Q1 2020</c:v>
                </c:pt>
                <c:pt idx="5">
                  <c:v>Q2 2020</c:v>
                </c:pt>
                <c:pt idx="6">
                  <c:v>Q3 2020</c:v>
                </c:pt>
                <c:pt idx="7">
                  <c:v>Q4 2020</c:v>
                </c:pt>
                <c:pt idx="8">
                  <c:v>Q1 2021</c:v>
                </c:pt>
                <c:pt idx="9">
                  <c:v>Q2 2021</c:v>
                </c:pt>
                <c:pt idx="10">
                  <c:v>Q3 2021</c:v>
                </c:pt>
                <c:pt idx="11">
                  <c:v>Q4 2021</c:v>
                </c:pt>
                <c:pt idx="12">
                  <c:v>Q1 2022</c:v>
                </c:pt>
                <c:pt idx="13">
                  <c:v>Q2 2022</c:v>
                </c:pt>
                <c:pt idx="14">
                  <c:v>Q3 2022</c:v>
                </c:pt>
                <c:pt idx="15">
                  <c:v>Q4 2022</c:v>
                </c:pt>
              </c:strCache>
            </c:strRef>
          </c:cat>
          <c:val>
            <c:numRef>
              <c:f>'Table S9. RT'!$C$9:$R$9</c:f>
            </c:numRef>
          </c:val>
          <c:smooth val="0"/>
          <c:extLst>
            <c:ext xmlns:c16="http://schemas.microsoft.com/office/drawing/2014/chart" uri="{C3380CC4-5D6E-409C-BE32-E72D297353CC}">
              <c16:uniqueId val="{00000005-36A2-4245-949C-309EF841D48A}"/>
            </c:ext>
          </c:extLst>
        </c:ser>
        <c:ser>
          <c:idx val="6"/>
          <c:order val="6"/>
          <c:tx>
            <c:strRef>
              <c:f>'Table S9. RT'!$B$10</c:f>
              <c:strCache>
                <c:ptCount val="1"/>
                <c:pt idx="0">
                  <c:v>Kent and Medway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60000"/>
                </a:schemeClr>
              </a:solidFill>
              <a:ln w="9525">
                <a:solidFill>
                  <a:schemeClr val="accent1">
                    <a:lumMod val="60000"/>
                  </a:schemeClr>
                </a:solidFill>
              </a:ln>
              <a:effectLst/>
            </c:spPr>
          </c:marker>
          <c:cat>
            <c:strRef>
              <c:f>'Table S9. RT'!$C$3:$R$3</c:f>
              <c:strCache>
                <c:ptCount val="16"/>
                <c:pt idx="0">
                  <c:v>Q1 2019</c:v>
                </c:pt>
                <c:pt idx="1">
                  <c:v>Q2 2019</c:v>
                </c:pt>
                <c:pt idx="2">
                  <c:v>Q3 2019</c:v>
                </c:pt>
                <c:pt idx="3">
                  <c:v>Q4 2019</c:v>
                </c:pt>
                <c:pt idx="4">
                  <c:v>Q1 2020</c:v>
                </c:pt>
                <c:pt idx="5">
                  <c:v>Q2 2020</c:v>
                </c:pt>
                <c:pt idx="6">
                  <c:v>Q3 2020</c:v>
                </c:pt>
                <c:pt idx="7">
                  <c:v>Q4 2020</c:v>
                </c:pt>
                <c:pt idx="8">
                  <c:v>Q1 2021</c:v>
                </c:pt>
                <c:pt idx="9">
                  <c:v>Q2 2021</c:v>
                </c:pt>
                <c:pt idx="10">
                  <c:v>Q3 2021</c:v>
                </c:pt>
                <c:pt idx="11">
                  <c:v>Q4 2021</c:v>
                </c:pt>
                <c:pt idx="12">
                  <c:v>Q1 2022</c:v>
                </c:pt>
                <c:pt idx="13">
                  <c:v>Q2 2022</c:v>
                </c:pt>
                <c:pt idx="14">
                  <c:v>Q3 2022</c:v>
                </c:pt>
                <c:pt idx="15">
                  <c:v>Q4 2022</c:v>
                </c:pt>
              </c:strCache>
            </c:strRef>
          </c:cat>
          <c:val>
            <c:numRef>
              <c:f>'Table S9. RT'!$C$10:$R$10</c:f>
            </c:numRef>
          </c:val>
          <c:smooth val="0"/>
          <c:extLst>
            <c:ext xmlns:c16="http://schemas.microsoft.com/office/drawing/2014/chart" uri="{C3380CC4-5D6E-409C-BE32-E72D297353CC}">
              <c16:uniqueId val="{00000006-36A2-4245-949C-309EF841D48A}"/>
            </c:ext>
          </c:extLst>
        </c:ser>
        <c:ser>
          <c:idx val="7"/>
          <c:order val="7"/>
          <c:tx>
            <c:strRef>
              <c:f>'Table S9. RT'!$B$11</c:f>
              <c:strCache>
                <c:ptCount val="1"/>
                <c:pt idx="0">
                  <c:v>Lancashire and South Cumbria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60000"/>
                </a:schemeClr>
              </a:solidFill>
              <a:ln w="9525">
                <a:solidFill>
                  <a:schemeClr val="accent2">
                    <a:lumMod val="60000"/>
                  </a:schemeClr>
                </a:solidFill>
              </a:ln>
              <a:effectLst/>
            </c:spPr>
          </c:marker>
          <c:cat>
            <c:strRef>
              <c:f>'Table S9. RT'!$C$3:$R$3</c:f>
              <c:strCache>
                <c:ptCount val="16"/>
                <c:pt idx="0">
                  <c:v>Q1 2019</c:v>
                </c:pt>
                <c:pt idx="1">
                  <c:v>Q2 2019</c:v>
                </c:pt>
                <c:pt idx="2">
                  <c:v>Q3 2019</c:v>
                </c:pt>
                <c:pt idx="3">
                  <c:v>Q4 2019</c:v>
                </c:pt>
                <c:pt idx="4">
                  <c:v>Q1 2020</c:v>
                </c:pt>
                <c:pt idx="5">
                  <c:v>Q2 2020</c:v>
                </c:pt>
                <c:pt idx="6">
                  <c:v>Q3 2020</c:v>
                </c:pt>
                <c:pt idx="7">
                  <c:v>Q4 2020</c:v>
                </c:pt>
                <c:pt idx="8">
                  <c:v>Q1 2021</c:v>
                </c:pt>
                <c:pt idx="9">
                  <c:v>Q2 2021</c:v>
                </c:pt>
                <c:pt idx="10">
                  <c:v>Q3 2021</c:v>
                </c:pt>
                <c:pt idx="11">
                  <c:v>Q4 2021</c:v>
                </c:pt>
                <c:pt idx="12">
                  <c:v>Q1 2022</c:v>
                </c:pt>
                <c:pt idx="13">
                  <c:v>Q2 2022</c:v>
                </c:pt>
                <c:pt idx="14">
                  <c:v>Q3 2022</c:v>
                </c:pt>
                <c:pt idx="15">
                  <c:v>Q4 2022</c:v>
                </c:pt>
              </c:strCache>
            </c:strRef>
          </c:cat>
          <c:val>
            <c:numRef>
              <c:f>'Table S9. RT'!$C$11:$R$11</c:f>
            </c:numRef>
          </c:val>
          <c:smooth val="0"/>
          <c:extLst>
            <c:ext xmlns:c16="http://schemas.microsoft.com/office/drawing/2014/chart" uri="{C3380CC4-5D6E-409C-BE32-E72D297353CC}">
              <c16:uniqueId val="{00000007-36A2-4245-949C-309EF841D48A}"/>
            </c:ext>
          </c:extLst>
        </c:ser>
        <c:ser>
          <c:idx val="8"/>
          <c:order val="8"/>
          <c:tx>
            <c:strRef>
              <c:f>'Table S9. RT'!$B$12</c:f>
              <c:strCache>
                <c:ptCount val="1"/>
                <c:pt idx="0">
                  <c:v>North Central London</c:v>
                </c:pt>
              </c:strCache>
            </c:strRef>
          </c:tx>
          <c:spPr>
            <a:ln w="2857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60000"/>
                </a:schemeClr>
              </a:solidFill>
              <a:ln w="9525">
                <a:solidFill>
                  <a:schemeClr val="accent3">
                    <a:lumMod val="60000"/>
                  </a:schemeClr>
                </a:solidFill>
              </a:ln>
              <a:effectLst/>
            </c:spPr>
          </c:marker>
          <c:cat>
            <c:strRef>
              <c:f>'Table S9. RT'!$C$3:$R$3</c:f>
              <c:strCache>
                <c:ptCount val="16"/>
                <c:pt idx="0">
                  <c:v>Q1 2019</c:v>
                </c:pt>
                <c:pt idx="1">
                  <c:v>Q2 2019</c:v>
                </c:pt>
                <c:pt idx="2">
                  <c:v>Q3 2019</c:v>
                </c:pt>
                <c:pt idx="3">
                  <c:v>Q4 2019</c:v>
                </c:pt>
                <c:pt idx="4">
                  <c:v>Q1 2020</c:v>
                </c:pt>
                <c:pt idx="5">
                  <c:v>Q2 2020</c:v>
                </c:pt>
                <c:pt idx="6">
                  <c:v>Q3 2020</c:v>
                </c:pt>
                <c:pt idx="7">
                  <c:v>Q4 2020</c:v>
                </c:pt>
                <c:pt idx="8">
                  <c:v>Q1 2021</c:v>
                </c:pt>
                <c:pt idx="9">
                  <c:v>Q2 2021</c:v>
                </c:pt>
                <c:pt idx="10">
                  <c:v>Q3 2021</c:v>
                </c:pt>
                <c:pt idx="11">
                  <c:v>Q4 2021</c:v>
                </c:pt>
                <c:pt idx="12">
                  <c:v>Q1 2022</c:v>
                </c:pt>
                <c:pt idx="13">
                  <c:v>Q2 2022</c:v>
                </c:pt>
                <c:pt idx="14">
                  <c:v>Q3 2022</c:v>
                </c:pt>
                <c:pt idx="15">
                  <c:v>Q4 2022</c:v>
                </c:pt>
              </c:strCache>
            </c:strRef>
          </c:cat>
          <c:val>
            <c:numRef>
              <c:f>'Table S9. RT'!$C$12:$R$12</c:f>
            </c:numRef>
          </c:val>
          <c:smooth val="0"/>
          <c:extLst>
            <c:ext xmlns:c16="http://schemas.microsoft.com/office/drawing/2014/chart" uri="{C3380CC4-5D6E-409C-BE32-E72D297353CC}">
              <c16:uniqueId val="{00000008-36A2-4245-949C-309EF841D48A}"/>
            </c:ext>
          </c:extLst>
        </c:ser>
        <c:ser>
          <c:idx val="9"/>
          <c:order val="9"/>
          <c:tx>
            <c:strRef>
              <c:f>'Table S9. RT'!$B$13</c:f>
              <c:strCache>
                <c:ptCount val="1"/>
                <c:pt idx="0">
                  <c:v>North East London</c:v>
                </c:pt>
              </c:strCache>
            </c:strRef>
          </c:tx>
          <c:spPr>
            <a:ln w="28575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60000"/>
                </a:schemeClr>
              </a:solidFill>
              <a:ln w="9525">
                <a:solidFill>
                  <a:schemeClr val="accent4">
                    <a:lumMod val="60000"/>
                  </a:schemeClr>
                </a:solidFill>
              </a:ln>
              <a:effectLst/>
            </c:spPr>
          </c:marker>
          <c:cat>
            <c:strRef>
              <c:f>'Table S9. RT'!$C$3:$R$3</c:f>
              <c:strCache>
                <c:ptCount val="16"/>
                <c:pt idx="0">
                  <c:v>Q1 2019</c:v>
                </c:pt>
                <c:pt idx="1">
                  <c:v>Q2 2019</c:v>
                </c:pt>
                <c:pt idx="2">
                  <c:v>Q3 2019</c:v>
                </c:pt>
                <c:pt idx="3">
                  <c:v>Q4 2019</c:v>
                </c:pt>
                <c:pt idx="4">
                  <c:v>Q1 2020</c:v>
                </c:pt>
                <c:pt idx="5">
                  <c:v>Q2 2020</c:v>
                </c:pt>
                <c:pt idx="6">
                  <c:v>Q3 2020</c:v>
                </c:pt>
                <c:pt idx="7">
                  <c:v>Q4 2020</c:v>
                </c:pt>
                <c:pt idx="8">
                  <c:v>Q1 2021</c:v>
                </c:pt>
                <c:pt idx="9">
                  <c:v>Q2 2021</c:v>
                </c:pt>
                <c:pt idx="10">
                  <c:v>Q3 2021</c:v>
                </c:pt>
                <c:pt idx="11">
                  <c:v>Q4 2021</c:v>
                </c:pt>
                <c:pt idx="12">
                  <c:v>Q1 2022</c:v>
                </c:pt>
                <c:pt idx="13">
                  <c:v>Q2 2022</c:v>
                </c:pt>
                <c:pt idx="14">
                  <c:v>Q3 2022</c:v>
                </c:pt>
                <c:pt idx="15">
                  <c:v>Q4 2022</c:v>
                </c:pt>
              </c:strCache>
            </c:strRef>
          </c:cat>
          <c:val>
            <c:numRef>
              <c:f>'Table S9. RT'!$C$13:$R$13</c:f>
            </c:numRef>
          </c:val>
          <c:smooth val="0"/>
          <c:extLst>
            <c:ext xmlns:c16="http://schemas.microsoft.com/office/drawing/2014/chart" uri="{C3380CC4-5D6E-409C-BE32-E72D297353CC}">
              <c16:uniqueId val="{00000009-36A2-4245-949C-309EF841D48A}"/>
            </c:ext>
          </c:extLst>
        </c:ser>
        <c:ser>
          <c:idx val="10"/>
          <c:order val="10"/>
          <c:tx>
            <c:strRef>
              <c:f>'Table S9. RT'!$B$14</c:f>
              <c:strCache>
                <c:ptCount val="1"/>
                <c:pt idx="0">
                  <c:v>Northern</c:v>
                </c:pt>
              </c:strCache>
            </c:strRef>
          </c:tx>
          <c:spPr>
            <a:ln w="28575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60000"/>
                </a:schemeClr>
              </a:solidFill>
              <a:ln w="9525">
                <a:solidFill>
                  <a:schemeClr val="accent5">
                    <a:lumMod val="60000"/>
                  </a:schemeClr>
                </a:solidFill>
              </a:ln>
              <a:effectLst/>
            </c:spPr>
          </c:marker>
          <c:cat>
            <c:strRef>
              <c:f>'Table S9. RT'!$C$3:$R$3</c:f>
              <c:strCache>
                <c:ptCount val="16"/>
                <c:pt idx="0">
                  <c:v>Q1 2019</c:v>
                </c:pt>
                <c:pt idx="1">
                  <c:v>Q2 2019</c:v>
                </c:pt>
                <c:pt idx="2">
                  <c:v>Q3 2019</c:v>
                </c:pt>
                <c:pt idx="3">
                  <c:v>Q4 2019</c:v>
                </c:pt>
                <c:pt idx="4">
                  <c:v>Q1 2020</c:v>
                </c:pt>
                <c:pt idx="5">
                  <c:v>Q2 2020</c:v>
                </c:pt>
                <c:pt idx="6">
                  <c:v>Q3 2020</c:v>
                </c:pt>
                <c:pt idx="7">
                  <c:v>Q4 2020</c:v>
                </c:pt>
                <c:pt idx="8">
                  <c:v>Q1 2021</c:v>
                </c:pt>
                <c:pt idx="9">
                  <c:v>Q2 2021</c:v>
                </c:pt>
                <c:pt idx="10">
                  <c:v>Q3 2021</c:v>
                </c:pt>
                <c:pt idx="11">
                  <c:v>Q4 2021</c:v>
                </c:pt>
                <c:pt idx="12">
                  <c:v>Q1 2022</c:v>
                </c:pt>
                <c:pt idx="13">
                  <c:v>Q2 2022</c:v>
                </c:pt>
                <c:pt idx="14">
                  <c:v>Q3 2022</c:v>
                </c:pt>
                <c:pt idx="15">
                  <c:v>Q4 2022</c:v>
                </c:pt>
              </c:strCache>
            </c:strRef>
          </c:cat>
          <c:val>
            <c:numRef>
              <c:f>'Table S9. RT'!$C$14:$R$14</c:f>
            </c:numRef>
          </c:val>
          <c:smooth val="0"/>
          <c:extLst>
            <c:ext xmlns:c16="http://schemas.microsoft.com/office/drawing/2014/chart" uri="{C3380CC4-5D6E-409C-BE32-E72D297353CC}">
              <c16:uniqueId val="{0000000A-36A2-4245-949C-309EF841D48A}"/>
            </c:ext>
          </c:extLst>
        </c:ser>
        <c:ser>
          <c:idx val="11"/>
          <c:order val="11"/>
          <c:tx>
            <c:strRef>
              <c:f>'Table S9. RT'!$B$15</c:f>
              <c:strCache>
                <c:ptCount val="1"/>
                <c:pt idx="0">
                  <c:v>Peninsula </c:v>
                </c:pt>
              </c:strCache>
            </c:strRef>
          </c:tx>
          <c:spPr>
            <a:ln w="28575" cap="rnd">
              <a:solidFill>
                <a:schemeClr val="accent6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60000"/>
                </a:schemeClr>
              </a:solidFill>
              <a:ln w="9525">
                <a:solidFill>
                  <a:schemeClr val="accent6">
                    <a:lumMod val="60000"/>
                  </a:schemeClr>
                </a:solidFill>
              </a:ln>
              <a:effectLst/>
            </c:spPr>
          </c:marker>
          <c:cat>
            <c:strRef>
              <c:f>'Table S9. RT'!$C$3:$R$3</c:f>
              <c:strCache>
                <c:ptCount val="16"/>
                <c:pt idx="0">
                  <c:v>Q1 2019</c:v>
                </c:pt>
                <c:pt idx="1">
                  <c:v>Q2 2019</c:v>
                </c:pt>
                <c:pt idx="2">
                  <c:v>Q3 2019</c:v>
                </c:pt>
                <c:pt idx="3">
                  <c:v>Q4 2019</c:v>
                </c:pt>
                <c:pt idx="4">
                  <c:v>Q1 2020</c:v>
                </c:pt>
                <c:pt idx="5">
                  <c:v>Q2 2020</c:v>
                </c:pt>
                <c:pt idx="6">
                  <c:v>Q3 2020</c:v>
                </c:pt>
                <c:pt idx="7">
                  <c:v>Q4 2020</c:v>
                </c:pt>
                <c:pt idx="8">
                  <c:v>Q1 2021</c:v>
                </c:pt>
                <c:pt idx="9">
                  <c:v>Q2 2021</c:v>
                </c:pt>
                <c:pt idx="10">
                  <c:v>Q3 2021</c:v>
                </c:pt>
                <c:pt idx="11">
                  <c:v>Q4 2021</c:v>
                </c:pt>
                <c:pt idx="12">
                  <c:v>Q1 2022</c:v>
                </c:pt>
                <c:pt idx="13">
                  <c:v>Q2 2022</c:v>
                </c:pt>
                <c:pt idx="14">
                  <c:v>Q3 2022</c:v>
                </c:pt>
                <c:pt idx="15">
                  <c:v>Q4 2022</c:v>
                </c:pt>
              </c:strCache>
            </c:strRef>
          </c:cat>
          <c:val>
            <c:numRef>
              <c:f>'Table S9. RT'!$C$15:$R$15</c:f>
            </c:numRef>
          </c:val>
          <c:smooth val="0"/>
          <c:extLst>
            <c:ext xmlns:c16="http://schemas.microsoft.com/office/drawing/2014/chart" uri="{C3380CC4-5D6E-409C-BE32-E72D297353CC}">
              <c16:uniqueId val="{0000000B-36A2-4245-949C-309EF841D48A}"/>
            </c:ext>
          </c:extLst>
        </c:ser>
        <c:ser>
          <c:idx val="12"/>
          <c:order val="12"/>
          <c:tx>
            <c:strRef>
              <c:f>'Table S9. RT'!$B$16</c:f>
              <c:strCache>
                <c:ptCount val="1"/>
                <c:pt idx="0">
                  <c:v>Somerset, Wiltshire, Avon &amp; Gloucestershire</c:v>
                </c:pt>
              </c:strCache>
            </c:strRef>
          </c:tx>
          <c:spPr>
            <a:ln w="28575" cap="rnd">
              <a:solidFill>
                <a:schemeClr val="accent1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'Table S9. RT'!$C$3:$R$3</c:f>
              <c:strCache>
                <c:ptCount val="16"/>
                <c:pt idx="0">
                  <c:v>Q1 2019</c:v>
                </c:pt>
                <c:pt idx="1">
                  <c:v>Q2 2019</c:v>
                </c:pt>
                <c:pt idx="2">
                  <c:v>Q3 2019</c:v>
                </c:pt>
                <c:pt idx="3">
                  <c:v>Q4 2019</c:v>
                </c:pt>
                <c:pt idx="4">
                  <c:v>Q1 2020</c:v>
                </c:pt>
                <c:pt idx="5">
                  <c:v>Q2 2020</c:v>
                </c:pt>
                <c:pt idx="6">
                  <c:v>Q3 2020</c:v>
                </c:pt>
                <c:pt idx="7">
                  <c:v>Q4 2020</c:v>
                </c:pt>
                <c:pt idx="8">
                  <c:v>Q1 2021</c:v>
                </c:pt>
                <c:pt idx="9">
                  <c:v>Q2 2021</c:v>
                </c:pt>
                <c:pt idx="10">
                  <c:v>Q3 2021</c:v>
                </c:pt>
                <c:pt idx="11">
                  <c:v>Q4 2021</c:v>
                </c:pt>
                <c:pt idx="12">
                  <c:v>Q1 2022</c:v>
                </c:pt>
                <c:pt idx="13">
                  <c:v>Q2 2022</c:v>
                </c:pt>
                <c:pt idx="14">
                  <c:v>Q3 2022</c:v>
                </c:pt>
                <c:pt idx="15">
                  <c:v>Q4 2022</c:v>
                </c:pt>
              </c:strCache>
            </c:strRef>
          </c:cat>
          <c:val>
            <c:numRef>
              <c:f>'Table S9. RT'!$C$16:$R$16</c:f>
              <c:numCache>
                <c:formatCode>0</c:formatCode>
                <c:ptCount val="16"/>
                <c:pt idx="0">
                  <c:v>212</c:v>
                </c:pt>
                <c:pt idx="1">
                  <c:v>172</c:v>
                </c:pt>
                <c:pt idx="2">
                  <c:v>169</c:v>
                </c:pt>
                <c:pt idx="3">
                  <c:v>161</c:v>
                </c:pt>
                <c:pt idx="4">
                  <c:v>166</c:v>
                </c:pt>
                <c:pt idx="5">
                  <c:v>85</c:v>
                </c:pt>
                <c:pt idx="6">
                  <c:v>211</c:v>
                </c:pt>
                <c:pt idx="7">
                  <c:v>96</c:v>
                </c:pt>
                <c:pt idx="8">
                  <c:v>124</c:v>
                </c:pt>
                <c:pt idx="9">
                  <c:v>141</c:v>
                </c:pt>
                <c:pt idx="10">
                  <c:v>128</c:v>
                </c:pt>
                <c:pt idx="11">
                  <c:v>145</c:v>
                </c:pt>
                <c:pt idx="12">
                  <c:v>187</c:v>
                </c:pt>
                <c:pt idx="13">
                  <c:v>153</c:v>
                </c:pt>
                <c:pt idx="14">
                  <c:v>177</c:v>
                </c:pt>
                <c:pt idx="15">
                  <c:v>1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36A2-4245-949C-309EF841D4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51410575"/>
        <c:axId val="290730319"/>
      </c:lineChart>
      <c:catAx>
        <c:axId val="6514105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0730319"/>
        <c:crosses val="autoZero"/>
        <c:auto val="1"/>
        <c:lblAlgn val="ctr"/>
        <c:lblOffset val="100"/>
        <c:noMultiLvlLbl val="0"/>
      </c:catAx>
      <c:valAx>
        <c:axId val="29073031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5141057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image" Target="../media/image18.svg"/><Relationship Id="rId1" Type="http://schemas.openxmlformats.org/officeDocument/2006/relationships/image" Target="../media/image17.png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0.sv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image" Target="../media/image18.svg"/><Relationship Id="rId1" Type="http://schemas.openxmlformats.org/officeDocument/2006/relationships/image" Target="../media/image17.png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0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958D1BF-332E-45CA-BB3E-5340F5415B4F}" type="doc">
      <dgm:prSet loTypeId="urn:microsoft.com/office/officeart/2018/2/layout/IconVerticalSolidList" loCatId="icon" qsTypeId="urn:microsoft.com/office/officeart/2005/8/quickstyle/simple3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47CCA0F0-4C88-4E32-B086-D0145E20D3A4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GB" sz="2400" b="1" i="0" dirty="0"/>
            <a:t>Register now for FREE!</a:t>
          </a:r>
          <a:r>
            <a:rPr lang="en-GB" sz="2400" b="0" i="0" dirty="0">
              <a:latin typeface="Arial"/>
            </a:rPr>
            <a:t> </a:t>
          </a:r>
          <a:endParaRPr lang="en-US" sz="2400" b="0" i="0" dirty="0">
            <a:latin typeface="Arial"/>
          </a:endParaRPr>
        </a:p>
      </dgm:t>
    </dgm:pt>
    <dgm:pt modelId="{62674C66-C613-48B4-B0B1-18FAE0E39E47}" type="sibTrans" cxnId="{5C23E545-D3F2-423E-BEFB-18B16968DD6C}">
      <dgm:prSet/>
      <dgm:spPr/>
      <dgm:t>
        <a:bodyPr/>
        <a:lstStyle/>
        <a:p>
          <a:endParaRPr lang="en-GB"/>
        </a:p>
      </dgm:t>
    </dgm:pt>
    <dgm:pt modelId="{AB2E62B3-3C02-40F2-A8BF-B3B3352CD1D5}" type="parTrans" cxnId="{5C23E545-D3F2-423E-BEFB-18B16968DD6C}">
      <dgm:prSet/>
      <dgm:spPr/>
      <dgm:t>
        <a:bodyPr/>
        <a:lstStyle/>
        <a:p>
          <a:endParaRPr lang="en-GB"/>
        </a:p>
      </dgm:t>
    </dgm:pt>
    <dgm:pt modelId="{9C493EB7-972C-4C9A-8095-ACF6D2D7D282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2400" b="1" dirty="0"/>
            <a:t>When: </a:t>
          </a:r>
          <a:r>
            <a:rPr lang="en-GB" sz="2400" b="0" i="0" dirty="0"/>
            <a:t>24</a:t>
          </a:r>
          <a:r>
            <a:rPr lang="en-GB" sz="2400" b="0" i="0" baseline="30000" dirty="0"/>
            <a:t>th</a:t>
          </a:r>
          <a:r>
            <a:rPr lang="en-GB" sz="2400" b="0" i="0" dirty="0"/>
            <a:t> July </a:t>
          </a:r>
        </a:p>
        <a:p>
          <a:pPr>
            <a:lnSpc>
              <a:spcPct val="100000"/>
            </a:lnSpc>
          </a:pPr>
          <a:r>
            <a:rPr lang="en-GB" sz="2400" b="0" i="0" dirty="0"/>
            <a:t>12pm to 1pm </a:t>
          </a:r>
          <a:endParaRPr lang="en-US" sz="2400" b="1" dirty="0"/>
        </a:p>
      </dgm:t>
    </dgm:pt>
    <dgm:pt modelId="{22BD0FAA-D2CD-41A6-A210-A7B597A01DFB}" type="parTrans" cxnId="{3195D901-A2F2-4671-B3C2-CBE2F2625C50}">
      <dgm:prSet/>
      <dgm:spPr/>
      <dgm:t>
        <a:bodyPr/>
        <a:lstStyle/>
        <a:p>
          <a:endParaRPr lang="en-GB"/>
        </a:p>
      </dgm:t>
    </dgm:pt>
    <dgm:pt modelId="{E2217A40-3FE8-4C91-BF7D-7CFA9C187B10}" type="sibTrans" cxnId="{3195D901-A2F2-4671-B3C2-CBE2F2625C50}">
      <dgm:prSet/>
      <dgm:spPr/>
      <dgm:t>
        <a:bodyPr/>
        <a:lstStyle/>
        <a:p>
          <a:endParaRPr lang="en-GB"/>
        </a:p>
      </dgm:t>
    </dgm:pt>
    <dgm:pt modelId="{D8375C2A-7EE9-4A07-B012-6907CDF08A57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2400" b="1" dirty="0"/>
            <a:t>Where: </a:t>
          </a:r>
          <a:r>
            <a:rPr lang="en-US" sz="2400" b="0" dirty="0"/>
            <a:t>Online</a:t>
          </a:r>
        </a:p>
      </dgm:t>
    </dgm:pt>
    <dgm:pt modelId="{51A740C6-D628-4FE4-844A-AAB581B242E3}" type="parTrans" cxnId="{B480C4BB-A343-4CEF-AB21-478C01679AFD}">
      <dgm:prSet/>
      <dgm:spPr/>
      <dgm:t>
        <a:bodyPr/>
        <a:lstStyle/>
        <a:p>
          <a:endParaRPr lang="en-GB"/>
        </a:p>
      </dgm:t>
    </dgm:pt>
    <dgm:pt modelId="{87698611-7907-4D53-9BD1-AEC8FC1F2097}" type="sibTrans" cxnId="{B480C4BB-A343-4CEF-AB21-478C01679AFD}">
      <dgm:prSet/>
      <dgm:spPr/>
      <dgm:t>
        <a:bodyPr/>
        <a:lstStyle/>
        <a:p>
          <a:endParaRPr lang="en-GB"/>
        </a:p>
      </dgm:t>
    </dgm:pt>
    <dgm:pt modelId="{914574DA-BF4E-4FCD-ADBF-6AFA8F62F66C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2400" b="1" dirty="0"/>
            <a:t>Speaker: </a:t>
          </a:r>
          <a:r>
            <a:rPr lang="en-US" sz="2400" b="0" dirty="0"/>
            <a:t>Dr Sam Merriel </a:t>
          </a:r>
        </a:p>
      </dgm:t>
    </dgm:pt>
    <dgm:pt modelId="{5270BF7E-6C02-4244-A169-C3FDF367A246}" type="parTrans" cxnId="{C8ECE66E-087B-4DCB-8946-33306686A50F}">
      <dgm:prSet/>
      <dgm:spPr/>
      <dgm:t>
        <a:bodyPr/>
        <a:lstStyle/>
        <a:p>
          <a:endParaRPr lang="en-GB"/>
        </a:p>
      </dgm:t>
    </dgm:pt>
    <dgm:pt modelId="{8F5093DA-5F1A-4B5E-9050-D261ADA8C8C4}" type="sibTrans" cxnId="{C8ECE66E-087B-4DCB-8946-33306686A50F}">
      <dgm:prSet/>
      <dgm:spPr/>
      <dgm:t>
        <a:bodyPr/>
        <a:lstStyle/>
        <a:p>
          <a:endParaRPr lang="en-GB"/>
        </a:p>
      </dgm:t>
    </dgm:pt>
    <dgm:pt modelId="{D87455BE-E193-4F2F-AAF7-BFFEDD8F8919}" type="pres">
      <dgm:prSet presAssocID="{9958D1BF-332E-45CA-BB3E-5340F5415B4F}" presName="root" presStyleCnt="0">
        <dgm:presLayoutVars>
          <dgm:dir/>
          <dgm:resizeHandles val="exact"/>
        </dgm:presLayoutVars>
      </dgm:prSet>
      <dgm:spPr/>
    </dgm:pt>
    <dgm:pt modelId="{3E0C464B-7231-4866-87A1-353063CB49E2}" type="pres">
      <dgm:prSet presAssocID="{914574DA-BF4E-4FCD-ADBF-6AFA8F62F66C}" presName="compNode" presStyleCnt="0"/>
      <dgm:spPr/>
    </dgm:pt>
    <dgm:pt modelId="{EA3FBCC4-3A17-429D-AA7B-D7E005B7D515}" type="pres">
      <dgm:prSet presAssocID="{914574DA-BF4E-4FCD-ADBF-6AFA8F62F66C}" presName="bgRect" presStyleLbl="bgShp" presStyleIdx="0" presStyleCnt="4" custLinFactNeighborX="-6537" custLinFactNeighborY="-198"/>
      <dgm:spPr/>
    </dgm:pt>
    <dgm:pt modelId="{9E8622E0-7341-4943-AE35-4D1ADA62BE56}" type="pres">
      <dgm:prSet presAssocID="{914574DA-BF4E-4FCD-ADBF-6AFA8F62F66C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Male profile with solid fill"/>
        </a:ext>
      </dgm:extLst>
    </dgm:pt>
    <dgm:pt modelId="{965F072C-9270-442B-86CD-BCDEEDB04A37}" type="pres">
      <dgm:prSet presAssocID="{914574DA-BF4E-4FCD-ADBF-6AFA8F62F66C}" presName="spaceRect" presStyleCnt="0"/>
      <dgm:spPr/>
    </dgm:pt>
    <dgm:pt modelId="{BCFEC280-01D1-4353-841E-978FBFE785BA}" type="pres">
      <dgm:prSet presAssocID="{914574DA-BF4E-4FCD-ADBF-6AFA8F62F66C}" presName="parTx" presStyleLbl="revTx" presStyleIdx="0" presStyleCnt="4">
        <dgm:presLayoutVars>
          <dgm:chMax val="0"/>
          <dgm:chPref val="0"/>
        </dgm:presLayoutVars>
      </dgm:prSet>
      <dgm:spPr/>
    </dgm:pt>
    <dgm:pt modelId="{71CCD876-BC2C-49FC-AB33-6E3E91BE87D3}" type="pres">
      <dgm:prSet presAssocID="{8F5093DA-5F1A-4B5E-9050-D261ADA8C8C4}" presName="sibTrans" presStyleCnt="0"/>
      <dgm:spPr/>
    </dgm:pt>
    <dgm:pt modelId="{73F8C830-D5D0-4F36-938D-7E2DAB2A4E41}" type="pres">
      <dgm:prSet presAssocID="{9C493EB7-972C-4C9A-8095-ACF6D2D7D282}" presName="compNode" presStyleCnt="0"/>
      <dgm:spPr/>
    </dgm:pt>
    <dgm:pt modelId="{B8081A7D-21F8-4B80-8134-CADD539DFD4D}" type="pres">
      <dgm:prSet presAssocID="{9C493EB7-972C-4C9A-8095-ACF6D2D7D282}" presName="bgRect" presStyleLbl="bgShp" presStyleIdx="1" presStyleCnt="4"/>
      <dgm:spPr/>
    </dgm:pt>
    <dgm:pt modelId="{5E3D462A-21F3-4929-B3D9-B392D7078188}" type="pres">
      <dgm:prSet presAssocID="{9C493EB7-972C-4C9A-8095-ACF6D2D7D282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Daily calendar with solid fill"/>
        </a:ext>
      </dgm:extLst>
    </dgm:pt>
    <dgm:pt modelId="{03545801-5799-41FA-9C84-4DFA3344D37F}" type="pres">
      <dgm:prSet presAssocID="{9C493EB7-972C-4C9A-8095-ACF6D2D7D282}" presName="spaceRect" presStyleCnt="0"/>
      <dgm:spPr/>
    </dgm:pt>
    <dgm:pt modelId="{9F0B3D82-CB7D-41EB-9689-C9D605E07E6F}" type="pres">
      <dgm:prSet presAssocID="{9C493EB7-972C-4C9A-8095-ACF6D2D7D282}" presName="parTx" presStyleLbl="revTx" presStyleIdx="1" presStyleCnt="4">
        <dgm:presLayoutVars>
          <dgm:chMax val="0"/>
          <dgm:chPref val="0"/>
        </dgm:presLayoutVars>
      </dgm:prSet>
      <dgm:spPr/>
    </dgm:pt>
    <dgm:pt modelId="{34FA581A-7179-402E-8828-E61D99D9B15B}" type="pres">
      <dgm:prSet presAssocID="{E2217A40-3FE8-4C91-BF7D-7CFA9C187B10}" presName="sibTrans" presStyleCnt="0"/>
      <dgm:spPr/>
    </dgm:pt>
    <dgm:pt modelId="{0B6CEBB5-FD0D-4149-9689-7E65BE523C84}" type="pres">
      <dgm:prSet presAssocID="{D8375C2A-7EE9-4A07-B012-6907CDF08A57}" presName="compNode" presStyleCnt="0"/>
      <dgm:spPr/>
    </dgm:pt>
    <dgm:pt modelId="{05CAA783-305E-4DC8-950F-4BDD27C9BF2B}" type="pres">
      <dgm:prSet presAssocID="{D8375C2A-7EE9-4A07-B012-6907CDF08A57}" presName="bgRect" presStyleLbl="bgShp" presStyleIdx="2" presStyleCnt="4"/>
      <dgm:spPr/>
    </dgm:pt>
    <dgm:pt modelId="{831C7536-2A9D-4D65-B6F4-C8BC37FD74F8}" type="pres">
      <dgm:prSet presAssocID="{D8375C2A-7EE9-4A07-B012-6907CDF08A57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Laptop with solid fill"/>
        </a:ext>
      </dgm:extLst>
    </dgm:pt>
    <dgm:pt modelId="{61FD42A8-A5F0-48B0-AE69-2FC8298A0D57}" type="pres">
      <dgm:prSet presAssocID="{D8375C2A-7EE9-4A07-B012-6907CDF08A57}" presName="spaceRect" presStyleCnt="0"/>
      <dgm:spPr/>
    </dgm:pt>
    <dgm:pt modelId="{18306097-07B8-4065-939F-C29C2DEF368F}" type="pres">
      <dgm:prSet presAssocID="{D8375C2A-7EE9-4A07-B012-6907CDF08A57}" presName="parTx" presStyleLbl="revTx" presStyleIdx="2" presStyleCnt="4">
        <dgm:presLayoutVars>
          <dgm:chMax val="0"/>
          <dgm:chPref val="0"/>
        </dgm:presLayoutVars>
      </dgm:prSet>
      <dgm:spPr/>
    </dgm:pt>
    <dgm:pt modelId="{41122767-08E2-405C-B6A9-F1A06B4B0EB8}" type="pres">
      <dgm:prSet presAssocID="{87698611-7907-4D53-9BD1-AEC8FC1F2097}" presName="sibTrans" presStyleCnt="0"/>
      <dgm:spPr/>
    </dgm:pt>
    <dgm:pt modelId="{6FFF5127-B933-4EC5-BDE8-0173F59AE10E}" type="pres">
      <dgm:prSet presAssocID="{47CCA0F0-4C88-4E32-B086-D0145E20D3A4}" presName="compNode" presStyleCnt="0"/>
      <dgm:spPr/>
    </dgm:pt>
    <dgm:pt modelId="{449C2467-DDEB-4CC2-AC90-77FDA26E05E2}" type="pres">
      <dgm:prSet presAssocID="{47CCA0F0-4C88-4E32-B086-D0145E20D3A4}" presName="bgRect" presStyleLbl="bgShp" presStyleIdx="3" presStyleCnt="4"/>
      <dgm:spPr/>
    </dgm:pt>
    <dgm:pt modelId="{B8691BE0-DC2F-4BDE-8E1D-75A2BF678A37}" type="pres">
      <dgm:prSet presAssocID="{47CCA0F0-4C88-4E32-B086-D0145E20D3A4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Signature with solid fill"/>
        </a:ext>
      </dgm:extLst>
    </dgm:pt>
    <dgm:pt modelId="{712B0282-9F97-47B4-B596-F746417DA0CE}" type="pres">
      <dgm:prSet presAssocID="{47CCA0F0-4C88-4E32-B086-D0145E20D3A4}" presName="spaceRect" presStyleCnt="0"/>
      <dgm:spPr/>
    </dgm:pt>
    <dgm:pt modelId="{AB12174D-8E74-4193-A7C6-E53A18C9DD72}" type="pres">
      <dgm:prSet presAssocID="{47CCA0F0-4C88-4E32-B086-D0145E20D3A4}" presName="parTx" presStyleLbl="revTx" presStyleIdx="3" presStyleCnt="4">
        <dgm:presLayoutVars>
          <dgm:chMax val="0"/>
          <dgm:chPref val="0"/>
        </dgm:presLayoutVars>
      </dgm:prSet>
      <dgm:spPr/>
    </dgm:pt>
  </dgm:ptLst>
  <dgm:cxnLst>
    <dgm:cxn modelId="{3195D901-A2F2-4671-B3C2-CBE2F2625C50}" srcId="{9958D1BF-332E-45CA-BB3E-5340F5415B4F}" destId="{9C493EB7-972C-4C9A-8095-ACF6D2D7D282}" srcOrd="1" destOrd="0" parTransId="{22BD0FAA-D2CD-41A6-A210-A7B597A01DFB}" sibTransId="{E2217A40-3FE8-4C91-BF7D-7CFA9C187B10}"/>
    <dgm:cxn modelId="{F2D43F17-9EC6-4AC0-8803-F958A1F92EAB}" type="presOf" srcId="{47CCA0F0-4C88-4E32-B086-D0145E20D3A4}" destId="{AB12174D-8E74-4193-A7C6-E53A18C9DD72}" srcOrd="0" destOrd="0" presId="urn:microsoft.com/office/officeart/2018/2/layout/IconVerticalSolidList"/>
    <dgm:cxn modelId="{52FD9439-D136-4C0E-88BE-5D3005A35510}" type="presOf" srcId="{9958D1BF-332E-45CA-BB3E-5340F5415B4F}" destId="{D87455BE-E193-4F2F-AAF7-BFFEDD8F8919}" srcOrd="0" destOrd="0" presId="urn:microsoft.com/office/officeart/2018/2/layout/IconVerticalSolidList"/>
    <dgm:cxn modelId="{5C23E545-D3F2-423E-BEFB-18B16968DD6C}" srcId="{9958D1BF-332E-45CA-BB3E-5340F5415B4F}" destId="{47CCA0F0-4C88-4E32-B086-D0145E20D3A4}" srcOrd="3" destOrd="0" parTransId="{AB2E62B3-3C02-40F2-A8BF-B3B3352CD1D5}" sibTransId="{62674C66-C613-48B4-B0B1-18FAE0E39E47}"/>
    <dgm:cxn modelId="{C8ECE66E-087B-4DCB-8946-33306686A50F}" srcId="{9958D1BF-332E-45CA-BB3E-5340F5415B4F}" destId="{914574DA-BF4E-4FCD-ADBF-6AFA8F62F66C}" srcOrd="0" destOrd="0" parTransId="{5270BF7E-6C02-4244-A169-C3FDF367A246}" sibTransId="{8F5093DA-5F1A-4B5E-9050-D261ADA8C8C4}"/>
    <dgm:cxn modelId="{8118445A-1F71-4A77-94FA-DCCF4F5DA9A0}" type="presOf" srcId="{D8375C2A-7EE9-4A07-B012-6907CDF08A57}" destId="{18306097-07B8-4065-939F-C29C2DEF368F}" srcOrd="0" destOrd="0" presId="urn:microsoft.com/office/officeart/2018/2/layout/IconVerticalSolidList"/>
    <dgm:cxn modelId="{B480C4BB-A343-4CEF-AB21-478C01679AFD}" srcId="{9958D1BF-332E-45CA-BB3E-5340F5415B4F}" destId="{D8375C2A-7EE9-4A07-B012-6907CDF08A57}" srcOrd="2" destOrd="0" parTransId="{51A740C6-D628-4FE4-844A-AAB581B242E3}" sibTransId="{87698611-7907-4D53-9BD1-AEC8FC1F2097}"/>
    <dgm:cxn modelId="{A8E093D5-0EA9-4B97-8038-C43A9FFC7472}" type="presOf" srcId="{9C493EB7-972C-4C9A-8095-ACF6D2D7D282}" destId="{9F0B3D82-CB7D-41EB-9689-C9D605E07E6F}" srcOrd="0" destOrd="0" presId="urn:microsoft.com/office/officeart/2018/2/layout/IconVerticalSolidList"/>
    <dgm:cxn modelId="{2AF50FDB-F122-45AD-B1E5-DEDAD1F71B18}" type="presOf" srcId="{914574DA-BF4E-4FCD-ADBF-6AFA8F62F66C}" destId="{BCFEC280-01D1-4353-841E-978FBFE785BA}" srcOrd="0" destOrd="0" presId="urn:microsoft.com/office/officeart/2018/2/layout/IconVerticalSolidList"/>
    <dgm:cxn modelId="{19DC78CD-E783-40B4-A5FF-E55658CC464A}" type="presParOf" srcId="{D87455BE-E193-4F2F-AAF7-BFFEDD8F8919}" destId="{3E0C464B-7231-4866-87A1-353063CB49E2}" srcOrd="0" destOrd="0" presId="urn:microsoft.com/office/officeart/2018/2/layout/IconVerticalSolidList"/>
    <dgm:cxn modelId="{F583008D-8C1C-441C-8C60-D1635D710D69}" type="presParOf" srcId="{3E0C464B-7231-4866-87A1-353063CB49E2}" destId="{EA3FBCC4-3A17-429D-AA7B-D7E005B7D515}" srcOrd="0" destOrd="0" presId="urn:microsoft.com/office/officeart/2018/2/layout/IconVerticalSolidList"/>
    <dgm:cxn modelId="{7620147C-9E67-40D5-B5EF-C534B6657937}" type="presParOf" srcId="{3E0C464B-7231-4866-87A1-353063CB49E2}" destId="{9E8622E0-7341-4943-AE35-4D1ADA62BE56}" srcOrd="1" destOrd="0" presId="urn:microsoft.com/office/officeart/2018/2/layout/IconVerticalSolidList"/>
    <dgm:cxn modelId="{6E5D8A83-B51E-4F60-8140-DE2824A8B6F9}" type="presParOf" srcId="{3E0C464B-7231-4866-87A1-353063CB49E2}" destId="{965F072C-9270-442B-86CD-BCDEEDB04A37}" srcOrd="2" destOrd="0" presId="urn:microsoft.com/office/officeart/2018/2/layout/IconVerticalSolidList"/>
    <dgm:cxn modelId="{14B5CEB8-C571-42B4-8A49-99E4AF3EEBFF}" type="presParOf" srcId="{3E0C464B-7231-4866-87A1-353063CB49E2}" destId="{BCFEC280-01D1-4353-841E-978FBFE785BA}" srcOrd="3" destOrd="0" presId="urn:microsoft.com/office/officeart/2018/2/layout/IconVerticalSolidList"/>
    <dgm:cxn modelId="{ECD0F511-870A-4DD7-AA8F-4DCBC819ADAB}" type="presParOf" srcId="{D87455BE-E193-4F2F-AAF7-BFFEDD8F8919}" destId="{71CCD876-BC2C-49FC-AB33-6E3E91BE87D3}" srcOrd="1" destOrd="0" presId="urn:microsoft.com/office/officeart/2018/2/layout/IconVerticalSolidList"/>
    <dgm:cxn modelId="{3511BCD2-F51D-4449-9FDA-051BFB73334B}" type="presParOf" srcId="{D87455BE-E193-4F2F-AAF7-BFFEDD8F8919}" destId="{73F8C830-D5D0-4F36-938D-7E2DAB2A4E41}" srcOrd="2" destOrd="0" presId="urn:microsoft.com/office/officeart/2018/2/layout/IconVerticalSolidList"/>
    <dgm:cxn modelId="{B9EDC2A8-E1DC-4E75-9CCA-3B4873797824}" type="presParOf" srcId="{73F8C830-D5D0-4F36-938D-7E2DAB2A4E41}" destId="{B8081A7D-21F8-4B80-8134-CADD539DFD4D}" srcOrd="0" destOrd="0" presId="urn:microsoft.com/office/officeart/2018/2/layout/IconVerticalSolidList"/>
    <dgm:cxn modelId="{D4549CC4-ED8D-42FF-9BF9-F177FD6D4B99}" type="presParOf" srcId="{73F8C830-D5D0-4F36-938D-7E2DAB2A4E41}" destId="{5E3D462A-21F3-4929-B3D9-B392D7078188}" srcOrd="1" destOrd="0" presId="urn:microsoft.com/office/officeart/2018/2/layout/IconVerticalSolidList"/>
    <dgm:cxn modelId="{6AF07B5E-2680-46C4-A192-9FCF869F3947}" type="presParOf" srcId="{73F8C830-D5D0-4F36-938D-7E2DAB2A4E41}" destId="{03545801-5799-41FA-9C84-4DFA3344D37F}" srcOrd="2" destOrd="0" presId="urn:microsoft.com/office/officeart/2018/2/layout/IconVerticalSolidList"/>
    <dgm:cxn modelId="{72D5AD93-5FB3-4DE6-A902-95BF2FFB5F65}" type="presParOf" srcId="{73F8C830-D5D0-4F36-938D-7E2DAB2A4E41}" destId="{9F0B3D82-CB7D-41EB-9689-C9D605E07E6F}" srcOrd="3" destOrd="0" presId="urn:microsoft.com/office/officeart/2018/2/layout/IconVerticalSolidList"/>
    <dgm:cxn modelId="{DDCD75E4-B64C-424D-ADEA-2192DF830EA5}" type="presParOf" srcId="{D87455BE-E193-4F2F-AAF7-BFFEDD8F8919}" destId="{34FA581A-7179-402E-8828-E61D99D9B15B}" srcOrd="3" destOrd="0" presId="urn:microsoft.com/office/officeart/2018/2/layout/IconVerticalSolidList"/>
    <dgm:cxn modelId="{9C43AA8C-4225-4FFB-841C-ABAAAE983F4C}" type="presParOf" srcId="{D87455BE-E193-4F2F-AAF7-BFFEDD8F8919}" destId="{0B6CEBB5-FD0D-4149-9689-7E65BE523C84}" srcOrd="4" destOrd="0" presId="urn:microsoft.com/office/officeart/2018/2/layout/IconVerticalSolidList"/>
    <dgm:cxn modelId="{77E42931-6B6F-45CB-83BB-64B266F01EEE}" type="presParOf" srcId="{0B6CEBB5-FD0D-4149-9689-7E65BE523C84}" destId="{05CAA783-305E-4DC8-950F-4BDD27C9BF2B}" srcOrd="0" destOrd="0" presId="urn:microsoft.com/office/officeart/2018/2/layout/IconVerticalSolidList"/>
    <dgm:cxn modelId="{C86B6F3B-05D3-4A6B-B92C-E66AAC3FF1E7}" type="presParOf" srcId="{0B6CEBB5-FD0D-4149-9689-7E65BE523C84}" destId="{831C7536-2A9D-4D65-B6F4-C8BC37FD74F8}" srcOrd="1" destOrd="0" presId="urn:microsoft.com/office/officeart/2018/2/layout/IconVerticalSolidList"/>
    <dgm:cxn modelId="{5EA4337B-6F01-4C0D-94E3-949E78760D47}" type="presParOf" srcId="{0B6CEBB5-FD0D-4149-9689-7E65BE523C84}" destId="{61FD42A8-A5F0-48B0-AE69-2FC8298A0D57}" srcOrd="2" destOrd="0" presId="urn:microsoft.com/office/officeart/2018/2/layout/IconVerticalSolidList"/>
    <dgm:cxn modelId="{DD0FC5B1-8270-4841-8257-797120CEE949}" type="presParOf" srcId="{0B6CEBB5-FD0D-4149-9689-7E65BE523C84}" destId="{18306097-07B8-4065-939F-C29C2DEF368F}" srcOrd="3" destOrd="0" presId="urn:microsoft.com/office/officeart/2018/2/layout/IconVerticalSolidList"/>
    <dgm:cxn modelId="{91563B73-F657-4117-9C56-33085FC0AC82}" type="presParOf" srcId="{D87455BE-E193-4F2F-AAF7-BFFEDD8F8919}" destId="{41122767-08E2-405C-B6A9-F1A06B4B0EB8}" srcOrd="5" destOrd="0" presId="urn:microsoft.com/office/officeart/2018/2/layout/IconVerticalSolidList"/>
    <dgm:cxn modelId="{D9ED3E34-1E0A-4741-8034-41ED77FB3364}" type="presParOf" srcId="{D87455BE-E193-4F2F-AAF7-BFFEDD8F8919}" destId="{6FFF5127-B933-4EC5-BDE8-0173F59AE10E}" srcOrd="6" destOrd="0" presId="urn:microsoft.com/office/officeart/2018/2/layout/IconVerticalSolidList"/>
    <dgm:cxn modelId="{A8CF8273-DB64-4C66-98C0-57EE5D7FEFCA}" type="presParOf" srcId="{6FFF5127-B933-4EC5-BDE8-0173F59AE10E}" destId="{449C2467-DDEB-4CC2-AC90-77FDA26E05E2}" srcOrd="0" destOrd="0" presId="urn:microsoft.com/office/officeart/2018/2/layout/IconVerticalSolidList"/>
    <dgm:cxn modelId="{A3F9F2AA-8AD6-4E8A-AB1A-2427FEA4FE95}" type="presParOf" srcId="{6FFF5127-B933-4EC5-BDE8-0173F59AE10E}" destId="{B8691BE0-DC2F-4BDE-8E1D-75A2BF678A37}" srcOrd="1" destOrd="0" presId="urn:microsoft.com/office/officeart/2018/2/layout/IconVerticalSolidList"/>
    <dgm:cxn modelId="{A873113E-E865-42E6-B71E-9368D78BE185}" type="presParOf" srcId="{6FFF5127-B933-4EC5-BDE8-0173F59AE10E}" destId="{712B0282-9F97-47B4-B596-F746417DA0CE}" srcOrd="2" destOrd="0" presId="urn:microsoft.com/office/officeart/2018/2/layout/IconVerticalSolidList"/>
    <dgm:cxn modelId="{032CC52D-C84D-45F3-A1A0-FFDE3F4DE3F1}" type="presParOf" srcId="{6FFF5127-B933-4EC5-BDE8-0173F59AE10E}" destId="{AB12174D-8E74-4193-A7C6-E53A18C9DD72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A3FBCC4-3A17-429D-AA7B-D7E005B7D515}">
      <dsp:nvSpPr>
        <dsp:cNvPr id="0" name=""/>
        <dsp:cNvSpPr/>
      </dsp:nvSpPr>
      <dsp:spPr>
        <a:xfrm>
          <a:off x="0" y="2452"/>
          <a:ext cx="5041900" cy="948856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9E8622E0-7341-4943-AE35-4D1ADA62BE56}">
      <dsp:nvSpPr>
        <dsp:cNvPr id="0" name=""/>
        <dsp:cNvSpPr/>
      </dsp:nvSpPr>
      <dsp:spPr>
        <a:xfrm>
          <a:off x="287029" y="217824"/>
          <a:ext cx="522381" cy="521871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BCFEC280-01D1-4353-841E-978FBFE785BA}">
      <dsp:nvSpPr>
        <dsp:cNvPr id="0" name=""/>
        <dsp:cNvSpPr/>
      </dsp:nvSpPr>
      <dsp:spPr>
        <a:xfrm>
          <a:off x="1096439" y="4331"/>
          <a:ext cx="3912250" cy="10081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97" tIns="106697" rIns="106697" bIns="106697" numCol="1" spcCol="1270" anchor="ctr" anchorCtr="0">
          <a:noAutofit/>
        </a:bodyPr>
        <a:lstStyle/>
        <a:p>
          <a:pPr marL="0" lvl="0" indent="0" algn="l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/>
            <a:t>Speaker: </a:t>
          </a:r>
          <a:r>
            <a:rPr lang="en-US" sz="2400" b="0" kern="1200" dirty="0"/>
            <a:t>Dr Sam Merriel </a:t>
          </a:r>
        </a:p>
      </dsp:txBody>
      <dsp:txXfrm>
        <a:off x="1096439" y="4331"/>
        <a:ext cx="3912250" cy="1008160"/>
      </dsp:txXfrm>
    </dsp:sp>
    <dsp:sp modelId="{B8081A7D-21F8-4B80-8134-CADD539DFD4D}">
      <dsp:nvSpPr>
        <dsp:cNvPr id="0" name=""/>
        <dsp:cNvSpPr/>
      </dsp:nvSpPr>
      <dsp:spPr>
        <a:xfrm>
          <a:off x="0" y="1264532"/>
          <a:ext cx="5041900" cy="948856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5E3D462A-21F3-4929-B3D9-B392D7078188}">
      <dsp:nvSpPr>
        <dsp:cNvPr id="0" name=""/>
        <dsp:cNvSpPr/>
      </dsp:nvSpPr>
      <dsp:spPr>
        <a:xfrm>
          <a:off x="287029" y="1478024"/>
          <a:ext cx="522381" cy="521871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9F0B3D82-CB7D-41EB-9689-C9D605E07E6F}">
      <dsp:nvSpPr>
        <dsp:cNvPr id="0" name=""/>
        <dsp:cNvSpPr/>
      </dsp:nvSpPr>
      <dsp:spPr>
        <a:xfrm>
          <a:off x="1096439" y="1264532"/>
          <a:ext cx="3912250" cy="10081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97" tIns="106697" rIns="106697" bIns="106697" numCol="1" spcCol="1270" anchor="ctr" anchorCtr="0">
          <a:noAutofit/>
        </a:bodyPr>
        <a:lstStyle/>
        <a:p>
          <a:pPr marL="0" lvl="0" indent="0" algn="l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/>
            <a:t>When: </a:t>
          </a:r>
          <a:r>
            <a:rPr lang="en-GB" sz="2400" b="0" i="0" kern="1200" dirty="0"/>
            <a:t>24</a:t>
          </a:r>
          <a:r>
            <a:rPr lang="en-GB" sz="2400" b="0" i="0" kern="1200" baseline="30000" dirty="0"/>
            <a:t>th</a:t>
          </a:r>
          <a:r>
            <a:rPr lang="en-GB" sz="2400" b="0" i="0" kern="1200" dirty="0"/>
            <a:t> July </a:t>
          </a:r>
        </a:p>
        <a:p>
          <a:pPr marL="0" lvl="0" indent="0" algn="l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b="0" i="0" kern="1200" dirty="0"/>
            <a:t>12pm to 1pm </a:t>
          </a:r>
          <a:endParaRPr lang="en-US" sz="2400" b="1" kern="1200" dirty="0"/>
        </a:p>
      </dsp:txBody>
      <dsp:txXfrm>
        <a:off x="1096439" y="1264532"/>
        <a:ext cx="3912250" cy="1008160"/>
      </dsp:txXfrm>
    </dsp:sp>
    <dsp:sp modelId="{05CAA783-305E-4DC8-950F-4BDD27C9BF2B}">
      <dsp:nvSpPr>
        <dsp:cNvPr id="0" name=""/>
        <dsp:cNvSpPr/>
      </dsp:nvSpPr>
      <dsp:spPr>
        <a:xfrm>
          <a:off x="0" y="2524732"/>
          <a:ext cx="5041900" cy="948856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831C7536-2A9D-4D65-B6F4-C8BC37FD74F8}">
      <dsp:nvSpPr>
        <dsp:cNvPr id="0" name=""/>
        <dsp:cNvSpPr/>
      </dsp:nvSpPr>
      <dsp:spPr>
        <a:xfrm>
          <a:off x="287029" y="2738225"/>
          <a:ext cx="522381" cy="521871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18306097-07B8-4065-939F-C29C2DEF368F}">
      <dsp:nvSpPr>
        <dsp:cNvPr id="0" name=""/>
        <dsp:cNvSpPr/>
      </dsp:nvSpPr>
      <dsp:spPr>
        <a:xfrm>
          <a:off x="1096439" y="2524732"/>
          <a:ext cx="3912250" cy="10081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97" tIns="106697" rIns="106697" bIns="106697" numCol="1" spcCol="1270" anchor="ctr" anchorCtr="0">
          <a:noAutofit/>
        </a:bodyPr>
        <a:lstStyle/>
        <a:p>
          <a:pPr marL="0" lvl="0" indent="0" algn="l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/>
            <a:t>Where: </a:t>
          </a:r>
          <a:r>
            <a:rPr lang="en-US" sz="2400" b="0" kern="1200" dirty="0"/>
            <a:t>Online</a:t>
          </a:r>
        </a:p>
      </dsp:txBody>
      <dsp:txXfrm>
        <a:off x="1096439" y="2524732"/>
        <a:ext cx="3912250" cy="1008160"/>
      </dsp:txXfrm>
    </dsp:sp>
    <dsp:sp modelId="{449C2467-DDEB-4CC2-AC90-77FDA26E05E2}">
      <dsp:nvSpPr>
        <dsp:cNvPr id="0" name=""/>
        <dsp:cNvSpPr/>
      </dsp:nvSpPr>
      <dsp:spPr>
        <a:xfrm>
          <a:off x="0" y="3784932"/>
          <a:ext cx="5041900" cy="948856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B8691BE0-DC2F-4BDE-8E1D-75A2BF678A37}">
      <dsp:nvSpPr>
        <dsp:cNvPr id="0" name=""/>
        <dsp:cNvSpPr/>
      </dsp:nvSpPr>
      <dsp:spPr>
        <a:xfrm>
          <a:off x="287029" y="3998425"/>
          <a:ext cx="522381" cy="521871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AB12174D-8E74-4193-A7C6-E53A18C9DD72}">
      <dsp:nvSpPr>
        <dsp:cNvPr id="0" name=""/>
        <dsp:cNvSpPr/>
      </dsp:nvSpPr>
      <dsp:spPr>
        <a:xfrm>
          <a:off x="1096439" y="3784932"/>
          <a:ext cx="3912250" cy="10081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97" tIns="106697" rIns="106697" bIns="106697" numCol="1" spcCol="1270" anchor="ctr" anchorCtr="0">
          <a:noAutofit/>
        </a:bodyPr>
        <a:lstStyle/>
        <a:p>
          <a:pPr marL="0" lvl="0" indent="0" algn="l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b="1" i="0" kern="1200" dirty="0"/>
            <a:t>Register now for FREE!</a:t>
          </a:r>
          <a:r>
            <a:rPr lang="en-GB" sz="2400" b="0" i="0" kern="1200" dirty="0">
              <a:latin typeface="Arial"/>
            </a:rPr>
            <a:t> </a:t>
          </a:r>
          <a:endParaRPr lang="en-US" sz="2400" b="0" i="0" kern="1200" dirty="0">
            <a:latin typeface="Arial"/>
          </a:endParaRPr>
        </a:p>
      </dsp:txBody>
      <dsp:txXfrm>
        <a:off x="1096439" y="3784932"/>
        <a:ext cx="3912250" cy="100816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A2671-0152-4967-A972-C502F6154438}" type="datetimeFigureOut">
              <a:t>6/6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40E1BB-3A7E-4575-BEEA-7DD177B1DA0D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19501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ier Q1 etc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40E1BB-3A7E-4575-BEEA-7DD177B1DA0D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175979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ier Q1 etc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40E1BB-3A7E-4575-BEEA-7DD177B1DA0D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02964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? How meaningful – final 23.24 quarter figures in Q1 24.25 – how is it sensible to manage this data and revie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40E1BB-3A7E-4575-BEEA-7DD177B1DA0D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36521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4B3981-25CB-999F-9089-9E8535197B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A34E25C-4733-BD62-C0AC-21131F72D8C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9B991FA-9CD9-C1BB-DF43-A058921D052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Focus on intelligence (pathway analysis, D&amp;C modelling) / PTL management (escalation protocols, navigation, tracking) / Productivity </a:t>
            </a:r>
            <a:r>
              <a:rPr lang="en-GB" dirty="0" err="1"/>
              <a:t>e.g</a:t>
            </a:r>
            <a:r>
              <a:rPr lang="en-GB" dirty="0"/>
              <a:t> triage, STT, N/S led LATP, capacity (workforce: MRI CTU LATP RALP </a:t>
            </a:r>
            <a:r>
              <a:rPr lang="en-GB" dirty="0" err="1"/>
              <a:t>histopath</a:t>
            </a:r>
            <a:r>
              <a:rPr lang="en-GB" dirty="0"/>
              <a:t>) and partnerships (Primary care / diagnostics re dedicated or alignment)</a:t>
            </a:r>
          </a:p>
          <a:p>
            <a:r>
              <a:rPr lang="en-GB" dirty="0"/>
              <a:t>Full pathway NBT and GHFT</a:t>
            </a:r>
          </a:p>
          <a:p>
            <a:r>
              <a:rPr lang="en-GB" dirty="0"/>
              <a:t>FDS: SFT and SDHFT</a:t>
            </a:r>
          </a:p>
        </p:txBody>
      </p:sp>
    </p:spTree>
    <p:extLst>
      <p:ext uri="{BB962C8B-B14F-4D97-AF65-F5344CB8AC3E}">
        <p14:creationId xmlns:p14="http://schemas.microsoft.com/office/powerpoint/2010/main" val="22380862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84AA84-D812-4DD5-85D0-D65A91870FD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40554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8.pn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D6DBE2-2745-8358-FE5F-82886255A2C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C19D8A7-783B-8066-979C-F3EA9F9A449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7D1E25C-C181-F273-2CAD-4966F40074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EC361-DC0B-4E14-A454-0DF92C97806E}" type="datetimeFigureOut">
              <a:rPr lang="en-GB" smtClean="0"/>
              <a:t>06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D52319-9969-4AB6-C5E8-8A8D5B580C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7C6E1B-2C48-C5BB-C38E-8AFE224BC9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6F894-DC0A-4B7D-B84B-FED84D17F05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23432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CD4C8-7BA1-F219-157D-6E56B20CCE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E69EFD1-AB29-D274-2214-C660BF893E1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7CEF0DC-9441-D14C-C5C9-D7A1B068C9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EC361-DC0B-4E14-A454-0DF92C97806E}" type="datetimeFigureOut">
              <a:rPr lang="en-GB" smtClean="0"/>
              <a:t>06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E76DE8-B2E3-B5F8-0401-5F4E712692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294008-8688-2A51-A238-A90D98C857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6F894-DC0A-4B7D-B84B-FED84D17F05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57580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BE97C0F-82E8-E338-D3A2-1BB2BD69542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31F9CF5-D871-495B-0439-5E7C406098D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C67D23F-C10F-4C5A-1B02-735F77D965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EC361-DC0B-4E14-A454-0DF92C97806E}" type="datetimeFigureOut">
              <a:rPr lang="en-GB" smtClean="0"/>
              <a:t>06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1CF70C-1CB6-1A93-CAA4-6805605FF6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013B55-0118-BAFD-0C34-19AA86EC30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6F894-DC0A-4B7D-B84B-FED84D17F05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25921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A picture containing knife&#10;&#10;Description automatically generated">
            <a:extLst>
              <a:ext uri="{FF2B5EF4-FFF2-40B4-BE49-F238E27FC236}">
                <a16:creationId xmlns:a16="http://schemas.microsoft.com/office/drawing/2014/main" id="{76E4527E-063B-4D6C-B547-A723E6066E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2549" y="53977"/>
            <a:ext cx="1949451" cy="79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6B2921B-370C-4D91-A2FA-5B431B8FB6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95055" y="2720589"/>
            <a:ext cx="8201892" cy="708415"/>
          </a:xfrm>
          <a:prstGeom prst="rect">
            <a:avLst/>
          </a:prstGeom>
        </p:spPr>
        <p:txBody>
          <a:bodyPr anchor="b">
            <a:noAutofit/>
          </a:bodyPr>
          <a:lstStyle>
            <a:lvl1pPr algn="ctr">
              <a:defRPr sz="2250" b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00FB84A-0F5E-4CA1-9075-6D1E419E976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95057" y="3607726"/>
            <a:ext cx="8201025" cy="35744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013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660401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A picture containing knife&#10;&#10;Description automatically generated">
            <a:extLst>
              <a:ext uri="{FF2B5EF4-FFF2-40B4-BE49-F238E27FC236}">
                <a16:creationId xmlns:a16="http://schemas.microsoft.com/office/drawing/2014/main" id="{76E4527E-063B-4D6C-B547-A723E6066E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2549" y="53977"/>
            <a:ext cx="1949451" cy="79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6B2921B-370C-4D91-A2FA-5B431B8FB6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95055" y="2720589"/>
            <a:ext cx="8201892" cy="708415"/>
          </a:xfrm>
          <a:prstGeom prst="rect">
            <a:avLst/>
          </a:prstGeom>
        </p:spPr>
        <p:txBody>
          <a:bodyPr anchor="b">
            <a:noAutofit/>
          </a:bodyPr>
          <a:lstStyle>
            <a:lvl1pPr algn="ctr">
              <a:defRPr sz="2250" b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00FB84A-0F5E-4CA1-9075-6D1E419E976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95057" y="3607726"/>
            <a:ext cx="8201025" cy="35744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013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865235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75" y="1597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75" y="1597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Text Placeholder 10"/>
          <p:cNvSpPr>
            <a:spLocks noGrp="1"/>
          </p:cNvSpPr>
          <p:nvPr>
            <p:ph type="body" idx="1"/>
          </p:nvPr>
        </p:nvSpPr>
        <p:spPr>
          <a:xfrm>
            <a:off x="579968" y="1568495"/>
            <a:ext cx="4239682" cy="529246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579968" y="2097741"/>
            <a:ext cx="4239682" cy="1614466"/>
          </a:xfrm>
          <a:solidFill>
            <a:schemeClr val="bg1">
              <a:lumMod val="95000"/>
            </a:schemeClr>
          </a:solidFill>
        </p:spPr>
        <p:txBody>
          <a:bodyPr lIns="72000" tIns="90000" rIns="72000" bIns="72000"/>
          <a:lstStyle>
            <a:lvl1pPr>
              <a:defRPr sz="969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Text Placeholder 10"/>
          <p:cNvSpPr>
            <a:spLocks noGrp="1"/>
          </p:cNvSpPr>
          <p:nvPr>
            <p:ph type="body" idx="17"/>
          </p:nvPr>
        </p:nvSpPr>
        <p:spPr>
          <a:xfrm>
            <a:off x="579968" y="3962071"/>
            <a:ext cx="4239682" cy="529246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4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579968" y="4491317"/>
            <a:ext cx="4239682" cy="1614466"/>
          </a:xfrm>
          <a:solidFill>
            <a:schemeClr val="bg1">
              <a:lumMod val="95000"/>
            </a:schemeClr>
          </a:solidFill>
        </p:spPr>
        <p:txBody>
          <a:bodyPr lIns="72000" tIns="90000" rIns="72000" bIns="72000"/>
          <a:lstStyle>
            <a:lvl1pPr>
              <a:defRPr sz="969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2FD0062-EAB6-165D-1979-A827F432DB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37AB0ABD-EF66-16DA-77DF-09F9E9700A4D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5018618" y="1568495"/>
            <a:ext cx="4239682" cy="529246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94A30EC1-2D3A-EC37-8EEE-17C600085FE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018618" y="2097741"/>
            <a:ext cx="4239682" cy="1614466"/>
          </a:xfrm>
          <a:solidFill>
            <a:schemeClr val="bg1">
              <a:lumMod val="95000"/>
            </a:schemeClr>
          </a:solidFill>
        </p:spPr>
        <p:txBody>
          <a:bodyPr lIns="72000" tIns="90000" rIns="72000" bIns="72000"/>
          <a:lstStyle>
            <a:lvl1pPr>
              <a:defRPr sz="969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CB4DDD6F-97D7-1AA7-D4BA-71770DEC3E4A}"/>
              </a:ext>
            </a:extLst>
          </p:cNvPr>
          <p:cNvSpPr>
            <a:spLocks noGrp="1"/>
          </p:cNvSpPr>
          <p:nvPr>
            <p:ph type="body" idx="27"/>
          </p:nvPr>
        </p:nvSpPr>
        <p:spPr>
          <a:xfrm>
            <a:off x="5018618" y="3962071"/>
            <a:ext cx="4239682" cy="529246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1D8CAF51-7F99-53BA-0074-0D420D283ED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018618" y="4491317"/>
            <a:ext cx="4239682" cy="1614466"/>
          </a:xfrm>
          <a:solidFill>
            <a:schemeClr val="bg1">
              <a:lumMod val="95000"/>
            </a:schemeClr>
          </a:solidFill>
        </p:spPr>
        <p:txBody>
          <a:bodyPr lIns="72000" tIns="90000" rIns="72000" bIns="72000"/>
          <a:lstStyle>
            <a:lvl1pPr>
              <a:defRPr sz="969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06E89A3F-6BB7-9B19-A649-FE22B3E09BAD}"/>
              </a:ext>
            </a:extLst>
          </p:cNvPr>
          <p:cNvSpPr>
            <a:spLocks noGrp="1"/>
          </p:cNvSpPr>
          <p:nvPr>
            <p:ph type="body" idx="29"/>
          </p:nvPr>
        </p:nvSpPr>
        <p:spPr>
          <a:xfrm>
            <a:off x="9457268" y="1565365"/>
            <a:ext cx="2591857" cy="529246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91738D6-8A16-6F3C-7F37-4961F28F56E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457268" y="2094611"/>
            <a:ext cx="2591857" cy="4011172"/>
          </a:xfrm>
          <a:solidFill>
            <a:schemeClr val="bg1">
              <a:lumMod val="95000"/>
            </a:schemeClr>
          </a:solidFill>
        </p:spPr>
        <p:txBody>
          <a:bodyPr lIns="72000" tIns="90000" rIns="72000" bIns="72000"/>
          <a:lstStyle>
            <a:lvl1pPr>
              <a:defRPr sz="969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53913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orizontal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1222" y="179654"/>
            <a:ext cx="9969231" cy="8339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t" anchorCtr="0" compatLnSpc="1">
            <a:prstTxWarp prst="textNoShape">
              <a:avLst/>
            </a:prstTxWarp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Narrative title style (no more than two lines long)</a:t>
            </a:r>
            <a:endParaRPr lang="en-GB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2639617" y="3210391"/>
            <a:ext cx="8730389" cy="1393065"/>
          </a:xfrm>
          <a:prstGeom prst="rect">
            <a:avLst/>
          </a:prstGeo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969" b="1"/>
            </a:lvl1pPr>
            <a:lvl2pPr marL="249488" indent="-127492">
              <a:buFont typeface="Arial" panose="020B0604020202020204" pitchFamily="34" charset="0"/>
              <a:buChar char="•"/>
              <a:defRPr sz="969"/>
            </a:lvl2pPr>
            <a:lvl3pPr marL="498976" indent="-192337">
              <a:buFont typeface="Arial" panose="020B0604020202020204" pitchFamily="34" charset="0"/>
              <a:buChar char="•"/>
              <a:defRPr sz="969" baseline="0"/>
            </a:lvl3pPr>
          </a:lstStyle>
          <a:p>
            <a:pPr lvl="0"/>
            <a:r>
              <a:rPr lang="en-US"/>
              <a:t>Text box (click to edit content)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79967" y="1568500"/>
            <a:ext cx="1971024" cy="139306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lIns="72000" rIns="72000" anchor="ctr"/>
          <a:lstStyle>
            <a:lvl1pPr marL="0" indent="0" algn="ctr">
              <a:spcBef>
                <a:spcPts val="0"/>
              </a:spcBef>
              <a:buNone/>
              <a:defRPr sz="1108" b="1" u="none">
                <a:solidFill>
                  <a:schemeClr val="bg1"/>
                </a:solidFill>
              </a:defRPr>
            </a:lvl1pPr>
            <a:lvl2pPr marL="316531" indent="0">
              <a:buNone/>
              <a:defRPr sz="1247">
                <a:solidFill>
                  <a:schemeClr val="tx1">
                    <a:tint val="75000"/>
                  </a:schemeClr>
                </a:solidFill>
              </a:defRPr>
            </a:lvl2pPr>
            <a:lvl3pPr marL="633062" indent="0">
              <a:buNone/>
              <a:defRPr sz="1108">
                <a:solidFill>
                  <a:schemeClr val="tx1">
                    <a:tint val="75000"/>
                  </a:schemeClr>
                </a:solidFill>
              </a:defRPr>
            </a:lvl3pPr>
            <a:lvl4pPr marL="949593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4pPr>
            <a:lvl5pPr marL="1266124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5pPr>
            <a:lvl6pPr marL="1582655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6pPr>
            <a:lvl7pPr marL="1899186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7pPr>
            <a:lvl8pPr marL="2215717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8pPr>
            <a:lvl9pPr marL="2532248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Box 1</a:t>
            </a:r>
          </a:p>
        </p:txBody>
      </p:sp>
      <p:sp>
        <p:nvSpPr>
          <p:cNvPr id="1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2639617" y="1568500"/>
            <a:ext cx="8730389" cy="1393065"/>
          </a:xfrm>
          <a:prstGeom prst="rect">
            <a:avLst/>
          </a:prstGeo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969" b="1"/>
            </a:lvl1pPr>
            <a:lvl2pPr marL="249488" indent="-127492">
              <a:buFont typeface="Arial" panose="020B0604020202020204" pitchFamily="34" charset="0"/>
              <a:buChar char="•"/>
              <a:defRPr sz="969"/>
            </a:lvl2pPr>
            <a:lvl3pPr marL="498976" indent="-192337">
              <a:buFont typeface="Arial" panose="020B0604020202020204" pitchFamily="34" charset="0"/>
              <a:buChar char="•"/>
              <a:defRPr sz="969" baseline="0"/>
            </a:lvl3pPr>
          </a:lstStyle>
          <a:p>
            <a:pPr lvl="0"/>
            <a:r>
              <a:rPr lang="en-US"/>
              <a:t>Text box (click to edit content)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579967" y="3210391"/>
            <a:ext cx="1971024" cy="1393065"/>
          </a:xfrm>
          <a:prstGeom prst="rect">
            <a:avLst/>
          </a:prstGeom>
          <a:solidFill>
            <a:schemeClr val="accent4"/>
          </a:solidFill>
        </p:spPr>
        <p:txBody>
          <a:bodyPr lIns="72000" rIns="72000" anchor="ctr"/>
          <a:lstStyle>
            <a:lvl1pPr marL="0" indent="0" algn="ctr">
              <a:spcBef>
                <a:spcPts val="0"/>
              </a:spcBef>
              <a:buNone/>
              <a:defRPr sz="1108" b="1" u="none" baseline="0">
                <a:solidFill>
                  <a:schemeClr val="bg1"/>
                </a:solidFill>
              </a:defRPr>
            </a:lvl1pPr>
            <a:lvl2pPr marL="316531" indent="0">
              <a:buNone/>
              <a:defRPr sz="1247">
                <a:solidFill>
                  <a:schemeClr val="tx1">
                    <a:tint val="75000"/>
                  </a:schemeClr>
                </a:solidFill>
              </a:defRPr>
            </a:lvl2pPr>
            <a:lvl3pPr marL="633062" indent="0">
              <a:buNone/>
              <a:defRPr sz="1108">
                <a:solidFill>
                  <a:schemeClr val="tx1">
                    <a:tint val="75000"/>
                  </a:schemeClr>
                </a:solidFill>
              </a:defRPr>
            </a:lvl3pPr>
            <a:lvl4pPr marL="949593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4pPr>
            <a:lvl5pPr marL="1266124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5pPr>
            <a:lvl6pPr marL="1582655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6pPr>
            <a:lvl7pPr marL="1899186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7pPr>
            <a:lvl8pPr marL="2215717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8pPr>
            <a:lvl9pPr marL="2532248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Box 2</a:t>
            </a:r>
          </a:p>
        </p:txBody>
      </p:sp>
      <p:sp>
        <p:nvSpPr>
          <p:cNvPr id="11" name="Text Placeholder 20"/>
          <p:cNvSpPr>
            <a:spLocks noGrp="1"/>
          </p:cNvSpPr>
          <p:nvPr>
            <p:ph type="body" sz="quarter" idx="18" hasCustomPrompt="1"/>
          </p:nvPr>
        </p:nvSpPr>
        <p:spPr>
          <a:xfrm>
            <a:off x="2639617" y="4852292"/>
            <a:ext cx="8730389" cy="1393065"/>
          </a:xfrm>
          <a:prstGeom prst="rect">
            <a:avLst/>
          </a:prstGeo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969" b="1"/>
            </a:lvl1pPr>
            <a:lvl2pPr marL="249488" indent="-127492">
              <a:buFont typeface="Arial" panose="020B0604020202020204" pitchFamily="34" charset="0"/>
              <a:buChar char="•"/>
              <a:defRPr sz="969"/>
            </a:lvl2pPr>
            <a:lvl3pPr marL="498976" indent="-192337">
              <a:buFont typeface="Arial" panose="020B0604020202020204" pitchFamily="34" charset="0"/>
              <a:buChar char="•"/>
              <a:defRPr sz="969" baseline="0"/>
            </a:lvl3pPr>
          </a:lstStyle>
          <a:p>
            <a:pPr lvl="0"/>
            <a:r>
              <a:rPr lang="en-US"/>
              <a:t>Text box (click to edit content)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579967" y="4852292"/>
            <a:ext cx="1971024" cy="1393065"/>
          </a:xfrm>
          <a:prstGeom prst="rect">
            <a:avLst/>
          </a:prstGeom>
          <a:solidFill>
            <a:schemeClr val="accent4"/>
          </a:solidFill>
        </p:spPr>
        <p:txBody>
          <a:bodyPr lIns="72000" rIns="72000" anchor="ctr"/>
          <a:lstStyle>
            <a:lvl1pPr marL="0" indent="0" algn="ctr">
              <a:spcBef>
                <a:spcPts val="0"/>
              </a:spcBef>
              <a:buNone/>
              <a:defRPr sz="1108" b="1" u="none">
                <a:solidFill>
                  <a:schemeClr val="bg1"/>
                </a:solidFill>
              </a:defRPr>
            </a:lvl1pPr>
            <a:lvl2pPr marL="316531" indent="0">
              <a:buNone/>
              <a:defRPr sz="1247">
                <a:solidFill>
                  <a:schemeClr val="tx1">
                    <a:tint val="75000"/>
                  </a:schemeClr>
                </a:solidFill>
              </a:defRPr>
            </a:lvl2pPr>
            <a:lvl3pPr marL="633062" indent="0">
              <a:buNone/>
              <a:defRPr sz="1108">
                <a:solidFill>
                  <a:schemeClr val="tx1">
                    <a:tint val="75000"/>
                  </a:schemeClr>
                </a:solidFill>
              </a:defRPr>
            </a:lvl3pPr>
            <a:lvl4pPr marL="949593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4pPr>
            <a:lvl5pPr marL="1266124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5pPr>
            <a:lvl6pPr marL="1582655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6pPr>
            <a:lvl7pPr marL="1899186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7pPr>
            <a:lvl8pPr marL="2215717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8pPr>
            <a:lvl9pPr marL="2532248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Box 3</a:t>
            </a:r>
          </a:p>
        </p:txBody>
      </p:sp>
    </p:spTree>
    <p:extLst>
      <p:ext uri="{BB962C8B-B14F-4D97-AF65-F5344CB8AC3E}">
        <p14:creationId xmlns:p14="http://schemas.microsoft.com/office/powerpoint/2010/main" val="33717906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72" y="1593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72" y="1593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9967" y="128002"/>
            <a:ext cx="9969231" cy="831850"/>
          </a:xfrm>
        </p:spPr>
        <p:txBody>
          <a:bodyPr/>
          <a:lstStyle>
            <a:lvl1pPr>
              <a:defRPr>
                <a:solidFill>
                  <a:srgbClr val="005EB8"/>
                </a:solidFill>
              </a:defRPr>
            </a:lvl1pPr>
          </a:lstStyle>
          <a:p>
            <a:r>
              <a:rPr lang="en-US"/>
              <a:t>Slide tit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79966" y="1535593"/>
            <a:ext cx="11032068" cy="46132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27273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0899AD-CADD-941A-FB87-640963E8B5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A976708-B5B1-EEE7-11BC-D5D01CE318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F89912-716C-0ADB-1157-CC51494CD2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1B343-5427-4E83-9557-3848BC7243C1}" type="datetimeFigureOut">
              <a:rPr lang="en-GB" smtClean="0"/>
              <a:t>06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A07E973-96DD-7698-8063-C073F8C5A5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1270BB-3722-D798-EF7A-AC99599D2B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0B15D7-74A4-4D26-80F1-053BCDCE5D7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36142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A14153-8678-B077-B44B-77F7C8CBFA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A16676-ADF7-4AF6-D0E8-E32535F9335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7D2E40-F868-C8E3-F149-05C4819ACB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1B343-5427-4E83-9557-3848BC7243C1}" type="datetimeFigureOut">
              <a:rPr lang="en-GB" smtClean="0"/>
              <a:t>06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5B0226-242C-6759-8624-5849C45F2E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6844A7-EA0E-A4D4-E54B-43AD845E2E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0B15D7-74A4-4D26-80F1-053BCDCE5D7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054029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C6848C-C789-03D6-F29B-D6FF40405F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38346B-8784-2BFF-90CB-B85BA9609C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4CC965-CF17-18EB-5E64-614B3E4FC8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1B343-5427-4E83-9557-3848BC7243C1}" type="datetimeFigureOut">
              <a:rPr lang="en-GB" smtClean="0"/>
              <a:t>06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EB6BC4-0418-8D85-1DEC-8053D42A2A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D62FA9-971B-89FE-CEF7-7C66B5C86F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0B15D7-74A4-4D26-80F1-053BCDCE5D7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58911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339228-4C2E-8209-8369-1EB25D73AF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931F29-EE4A-3F91-0C4F-0F2FE4B10F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8BE419-D996-ADF7-9935-2A92CB1672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EC361-DC0B-4E14-A454-0DF92C97806E}" type="datetimeFigureOut">
              <a:rPr lang="en-GB" smtClean="0"/>
              <a:t>06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117C17-96FF-580E-E9B2-628275D536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CC15E7-691E-D91A-0991-E034BC8D99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6F894-DC0A-4B7D-B84B-FED84D17F05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730561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6435AF-3C7D-F419-9519-C2622E35F2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820F91-73AB-3FB6-3544-27AF3063C19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9937AAE-004B-C05E-F077-7A35B4B1A2F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EA753D-0652-8529-C80C-443E603F4B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1B343-5427-4E83-9557-3848BC7243C1}" type="datetimeFigureOut">
              <a:rPr lang="en-GB" smtClean="0"/>
              <a:t>06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1E97F05-E707-A0C4-882B-CBE030D861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9EEDAB4-AC2E-9930-27D7-503E66394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0B15D7-74A4-4D26-80F1-053BCDCE5D7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47022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022185-E778-F3B1-207A-FDEFBBE097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D6E290-8D15-20C4-1926-C60FB42C75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4053037-0890-8FB3-5C7B-852063078A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5C386DC-F105-FB35-7ACF-A617780A896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8C9805D-91B1-2163-5F79-499FA73CDBB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73B6826-454A-E2E7-E4AB-5B585B469A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1B343-5427-4E83-9557-3848BC7243C1}" type="datetimeFigureOut">
              <a:rPr lang="en-GB" smtClean="0"/>
              <a:t>06/06/2024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0E58FB1-DABA-EB2B-CC1D-E9825B9EDB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1CAC9F8-4F37-A631-3EB3-2A13697B6D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0B15D7-74A4-4D26-80F1-053BCDCE5D7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693860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91357B-1E99-B295-1712-DE269B3B76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DDD1-61D6-4408-B44E-D06E05E0B3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1B343-5427-4E83-9557-3848BC7243C1}" type="datetimeFigureOut">
              <a:rPr lang="en-GB" smtClean="0"/>
              <a:t>06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9C80A2-A984-078A-E54F-F2D49234F6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D76DD8-7F0C-CEE5-8821-24A294C2A6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0B15D7-74A4-4D26-80F1-053BCDCE5D7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160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6E0398-515B-7529-E98B-8C875F62D3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1B343-5427-4E83-9557-3848BC7243C1}" type="datetimeFigureOut">
              <a:rPr lang="en-GB" smtClean="0"/>
              <a:t>06/06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A68EF7C-3A37-55BE-09CE-2932DDCEB5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433608-4C84-6EFD-5F37-6047EF23A2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0B15D7-74A4-4D26-80F1-053BCDCE5D7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946139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BE5CA7-7EA2-77B0-6E4F-523C5ED9B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ADA9C4-4CBF-6699-A092-E9EF4E76EC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CCF72B-BAAA-48C8-5089-64EBA696FC4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5D2892-CDF9-726A-4731-519712A591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1B343-5427-4E83-9557-3848BC7243C1}" type="datetimeFigureOut">
              <a:rPr lang="en-GB" smtClean="0"/>
              <a:t>06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213B784-A63E-465B-8303-1F50B4848F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F6FF5F1-C612-2168-69B5-26CAC2E341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0B15D7-74A4-4D26-80F1-053BCDCE5D7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607088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F9373E-071B-BED3-697C-DF09FB6DC4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67F3E52-9A00-9815-8F2F-706BD9D0808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531870-CC0D-E103-CB70-9AB97348855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4D3316B-B4E3-4686-2D85-5DCCB006A6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1B343-5427-4E83-9557-3848BC7243C1}" type="datetimeFigureOut">
              <a:rPr lang="en-GB" smtClean="0"/>
              <a:t>06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9CE5C9C-2ACF-AFB5-3E01-5C9A9300B6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325B67-13F7-AB47-8EC8-F29948DB0C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0B15D7-74A4-4D26-80F1-053BCDCE5D7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688364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AA268F-B53E-002B-0B25-726CC25B77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2424F9D-52A5-E388-57BE-CBD3C9A485A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8E9106-C84E-4EAB-E56A-5EBB970498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1B343-5427-4E83-9557-3848BC7243C1}" type="datetimeFigureOut">
              <a:rPr lang="en-GB" smtClean="0"/>
              <a:t>06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6591BB-B9A8-FE1E-602D-5C9A67E5D9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72AD25-2A34-7E12-1CA9-021A9E3E66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0B15D7-74A4-4D26-80F1-053BCDCE5D7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377648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D9CDC4B-57AE-CA9D-3355-58901F1703B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1339605-A389-5711-CE02-F81211FF9D8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A37BD7-CCEA-6A2F-A536-EC175D86F8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1B343-5427-4E83-9557-3848BC7243C1}" type="datetimeFigureOut">
              <a:rPr lang="en-GB" smtClean="0"/>
              <a:t>06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A64126B-844E-8B78-DB01-8230DA8B27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CBD51B-60BC-E708-D704-348113AEC4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0B15D7-74A4-4D26-80F1-053BCDCE5D7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447110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408E90-F652-4B40-BD0B-1F8BC7EBCD0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54765" y="2652433"/>
            <a:ext cx="9144000" cy="601111"/>
          </a:xfrm>
        </p:spPr>
        <p:txBody>
          <a:bodyPr anchor="b">
            <a:normAutofit/>
          </a:bodyPr>
          <a:lstStyle>
            <a:lvl1pPr algn="l">
              <a:defRPr sz="3600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1F7CE30-6632-4A18-9007-59691A06EF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54765" y="3435624"/>
            <a:ext cx="9144000" cy="466379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003085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9FCB08CE-B749-4A34-8E38-256DAB23FDA3}"/>
              </a:ext>
            </a:extLst>
          </p:cNvPr>
          <p:cNvSpPr txBox="1"/>
          <p:nvPr userDrawn="1"/>
        </p:nvSpPr>
        <p:spPr>
          <a:xfrm>
            <a:off x="291314" y="6372536"/>
            <a:ext cx="6473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fld id="{34F92BC6-D7C3-584B-87F2-0B845776A5AD}" type="slidenum">
              <a:rPr lang="en-US" sz="1200" smtClean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l"/>
              <a:t>‹#›</a:t>
            </a:fld>
            <a:r>
              <a:rPr lang="en-US" sz="120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sz="1200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</a:t>
            </a:r>
            <a:endParaRPr lang="en-US" sz="120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le 10">
            <a:extLst>
              <a:ext uri="{FF2B5EF4-FFF2-40B4-BE49-F238E27FC236}">
                <a16:creationId xmlns:a16="http://schemas.microsoft.com/office/drawing/2014/main" id="{22B34758-9E88-47CF-97D6-6500D97D9E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1877" y="1037979"/>
            <a:ext cx="10641498" cy="611649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sz="2800">
              <a:solidFill>
                <a:srgbClr val="005EB8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Content Placeholder 9">
            <a:extLst>
              <a:ext uri="{FF2B5EF4-FFF2-40B4-BE49-F238E27FC236}">
                <a16:creationId xmlns:a16="http://schemas.microsoft.com/office/drawing/2014/main" id="{34C2919C-3AD4-436F-A0CC-4F48C43AA52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81878" y="1833143"/>
            <a:ext cx="10641498" cy="224412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5AB091A9-979F-438D-A004-40CFB3EAC3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0676" y="6333439"/>
            <a:ext cx="57231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>
                <a:solidFill>
                  <a:schemeClr val="accent3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1943881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CDA381-68B4-0CE5-1E2A-BCDF2B4463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81FE274-9449-A4FF-D27E-FFB83865CB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0D1F78-D411-75A8-B6BF-FD5706E74A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EC361-DC0B-4E14-A454-0DF92C97806E}" type="datetimeFigureOut">
              <a:rPr lang="en-GB" smtClean="0"/>
              <a:t>06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769566-18EE-AE61-A041-BC13B1E7B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72F402-5EBB-B8C3-D6D2-650BDAAA99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6F894-DC0A-4B7D-B84B-FED84D17F05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1415039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ing, subhead, bullets one column">
    <p:bg>
      <p:bgPr>
        <a:solidFill>
          <a:srgbClr val="F6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2000" y="2771999"/>
            <a:ext cx="11088000" cy="3456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None/>
              <a:defRPr sz="2200" b="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z="2200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2200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2200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286FFC-BD82-6E40-BA0C-B1C0F7127A9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1" y="2088000"/>
            <a:ext cx="11012644" cy="57792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2400" b="1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Subhea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pPr algn="r"/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F771D90-A686-C949-8872-F69893BCF8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404154" cy="86518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CD5CE1C-46DF-8846-A4A0-E19A9CC397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76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64955267-CD3E-4484-1B20-32E90EB4ED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DF90BC4-89E3-102C-5241-15C5803161D9}"/>
              </a:ext>
            </a:extLst>
          </p:cNvPr>
          <p:cNvSpPr/>
          <p:nvPr userDrawn="1"/>
        </p:nvSpPr>
        <p:spPr bwMode="auto">
          <a:xfrm>
            <a:off x="848546" y="6398440"/>
            <a:ext cx="4489017" cy="318499"/>
          </a:xfrm>
          <a:prstGeom prst="rect">
            <a:avLst/>
          </a:prstGeom>
          <a:solidFill>
            <a:srgbClr val="F6F8F8"/>
          </a:solidFill>
          <a:ln w="9525" cap="flat" cmpd="sng" algn="ctr">
            <a:solidFill>
              <a:srgbClr val="F6F8F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74295" rIns="74295" bIns="7429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 defTabSz="722313"/>
            <a:r>
              <a:rPr lang="en-GB" sz="1200">
                <a:solidFill>
                  <a:schemeClr val="bg1">
                    <a:lumMod val="65000"/>
                  </a:schemeClr>
                </a:solidFill>
              </a:rPr>
              <a:t>24/25 Cancer Alliance Planning Pack</a:t>
            </a:r>
            <a:endParaRPr lang="en-GB" sz="1200">
              <a:solidFill>
                <a:schemeClr val="bg1">
                  <a:lumMod val="65000"/>
                </a:scheme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17973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E1BB7E7-331B-5C2B-088D-5A5E9880F63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80000" y="180975"/>
            <a:ext cx="2174240" cy="94223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31C1E3-6A7C-C21D-910D-C4B7DFFF527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2312" y="1633928"/>
            <a:ext cx="5949262" cy="2988872"/>
          </a:xfrm>
        </p:spPr>
        <p:txBody>
          <a:bodyPr anchor="b"/>
          <a:lstStyle>
            <a:lvl1pPr algn="l">
              <a:lnSpc>
                <a:spcPct val="80000"/>
              </a:lnSpc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4E0DA90-2FF2-F36C-F9FF-CD7A192F00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22312" y="4824000"/>
            <a:ext cx="5949262" cy="12339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pic>
        <p:nvPicPr>
          <p:cNvPr id="5" name="Picture 4" descr="Icon&#10;&#10;Description automatically generated">
            <a:extLst>
              <a:ext uri="{FF2B5EF4-FFF2-40B4-BE49-F238E27FC236}">
                <a16:creationId xmlns:a16="http://schemas.microsoft.com/office/drawing/2014/main" id="{82CB187F-ABDC-EF2C-B4EF-A18377891D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115" t="7431" r="13176"/>
          <a:stretch/>
        </p:blipFill>
        <p:spPr>
          <a:xfrm flipH="1">
            <a:off x="6671574" y="509666"/>
            <a:ext cx="4798114" cy="6348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172373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icture containing icon&#10;&#10;Description automatically generated">
            <a:extLst>
              <a:ext uri="{FF2B5EF4-FFF2-40B4-BE49-F238E27FC236}">
                <a16:creationId xmlns:a16="http://schemas.microsoft.com/office/drawing/2014/main" id="{BDB7E791-11AF-79DA-8A7A-7A2B8E3AF2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9396"/>
          <a:stretch/>
        </p:blipFill>
        <p:spPr>
          <a:xfrm>
            <a:off x="6671574" y="486050"/>
            <a:ext cx="4798114" cy="6371950"/>
          </a:xfrm>
          <a:prstGeom prst="rect">
            <a:avLst/>
          </a:prstGeom>
        </p:spPr>
      </p:pic>
      <p:pic>
        <p:nvPicPr>
          <p:cNvPr id="7" name="Picture 6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E1BB7E7-331B-5C2B-088D-5A5E9880F63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80000" y="180975"/>
            <a:ext cx="2174240" cy="94223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631C1E3-6A7C-C21D-910D-C4B7DFFF527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2312" y="1633928"/>
            <a:ext cx="5949262" cy="2988872"/>
          </a:xfrm>
        </p:spPr>
        <p:txBody>
          <a:bodyPr anchor="b"/>
          <a:lstStyle>
            <a:lvl1pPr algn="l">
              <a:lnSpc>
                <a:spcPct val="8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4E0DA90-2FF2-F36C-F9FF-CD7A192F00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22312" y="4824000"/>
            <a:ext cx="5949262" cy="12339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pic>
        <p:nvPicPr>
          <p:cNvPr id="4" name="Picture 3" descr="A picture containing logo&#10;&#10;Description automatically generated">
            <a:extLst>
              <a:ext uri="{FF2B5EF4-FFF2-40B4-BE49-F238E27FC236}">
                <a16:creationId xmlns:a16="http://schemas.microsoft.com/office/drawing/2014/main" id="{20E85EFC-2918-9B85-785B-A90BD355717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80000" y="180975"/>
            <a:ext cx="2176459" cy="94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38639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BD0925-A981-DA7D-4666-ADEC6325BA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36573CB-38BE-D27D-86AD-63288E9838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3415B6-44A6-4784-8A79-F796455C1D0A}" type="datetime1">
              <a:rPr lang="en-GB" smtClean="0"/>
              <a:t>06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A2B58F8-39EB-A7D2-B668-89264BAF07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Prostate Cancer UK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360966-A241-61F9-0186-71CA9BED39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53E11-492D-48B3-9F9B-09541CA2A39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BC4128C0-F24D-2AE7-702A-DF5EA7B6BE5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25520" y="1260474"/>
            <a:ext cx="7944167" cy="47974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3000"/>
              </a:spcBef>
              <a:buFont typeface="+mj-lt"/>
              <a:buNone/>
              <a:defRPr sz="2400" b="1"/>
            </a:lvl1pPr>
            <a:lvl2pPr marL="534988" indent="-177800">
              <a:lnSpc>
                <a:spcPct val="100000"/>
              </a:lnSpc>
              <a:buFont typeface="Wingdings" pitchFamily="2" charset="2"/>
              <a:buChar char="§"/>
              <a:tabLst/>
              <a:defRPr sz="2000" b="0" i="0"/>
            </a:lvl2pPr>
            <a:lvl3pPr marL="846138" indent="-131763">
              <a:lnSpc>
                <a:spcPct val="100000"/>
              </a:lnSpc>
              <a:buFont typeface="Wingdings" pitchFamily="2" charset="2"/>
              <a:buChar char="§"/>
              <a:tabLst/>
              <a:defRPr sz="1600" b="0" i="0"/>
            </a:lvl3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1123086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Pink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BD0925-A981-DA7D-4666-ADEC6325BA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36573CB-38BE-D27D-86AD-63288E9838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3415B6-44A6-4784-8A79-F796455C1D0A}" type="datetime1">
              <a:rPr lang="en-GB" smtClean="0"/>
              <a:t>06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A2B58F8-39EB-A7D2-B668-89264BAF07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Prostate Cancer UK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360966-A241-61F9-0186-71CA9BED39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53E11-492D-48B3-9F9B-09541CA2A39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BC4128C0-F24D-2AE7-702A-DF5EA7B6BE5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25520" y="1260474"/>
            <a:ext cx="7944167" cy="47974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3000"/>
              </a:spcBef>
              <a:buFont typeface="+mj-lt"/>
              <a:buNone/>
              <a:defRPr sz="2400" b="1"/>
            </a:lvl1pPr>
            <a:lvl2pPr marL="534988" indent="-177800">
              <a:lnSpc>
                <a:spcPct val="100000"/>
              </a:lnSpc>
              <a:buFont typeface="Wingdings" pitchFamily="2" charset="2"/>
              <a:buChar char="§"/>
              <a:tabLst/>
              <a:defRPr sz="2000" b="0" i="0"/>
            </a:lvl2pPr>
            <a:lvl3pPr marL="846138" indent="-131763">
              <a:lnSpc>
                <a:spcPct val="100000"/>
              </a:lnSpc>
              <a:buFont typeface="Wingdings" pitchFamily="2" charset="2"/>
              <a:buChar char="§"/>
              <a:tabLst/>
              <a:defRPr sz="1600" b="0" i="0"/>
            </a:lvl3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7432210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BD0925-A981-DA7D-4666-ADEC6325BA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36573CB-38BE-D27D-86AD-63288E9838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3415B6-44A6-4784-8A79-F796455C1D0A}" type="datetime1">
              <a:rPr lang="en-GB" smtClean="0"/>
              <a:t>06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A2B58F8-39EB-A7D2-B668-89264BAF07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Prostate Cancer UK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360966-A241-61F9-0186-71CA9BED39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53E11-492D-48B3-9F9B-09541CA2A39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BC4128C0-F24D-2AE7-702A-DF5EA7B6BE5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25520" y="1260474"/>
            <a:ext cx="7944167" cy="47974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3000"/>
              </a:spcBef>
              <a:buFont typeface="+mj-lt"/>
              <a:buNone/>
              <a:defRPr sz="2400" b="1"/>
            </a:lvl1pPr>
            <a:lvl2pPr marL="534988" indent="-177800">
              <a:lnSpc>
                <a:spcPct val="100000"/>
              </a:lnSpc>
              <a:buFont typeface="Wingdings" pitchFamily="2" charset="2"/>
              <a:buChar char="§"/>
              <a:tabLst/>
              <a:defRPr sz="2000" b="0" i="0"/>
            </a:lvl2pPr>
            <a:lvl3pPr marL="846138" indent="-131763">
              <a:lnSpc>
                <a:spcPct val="100000"/>
              </a:lnSpc>
              <a:buFont typeface="Wingdings" pitchFamily="2" charset="2"/>
              <a:buChar char="§"/>
              <a:tabLst/>
              <a:defRPr sz="1600" b="0" i="0"/>
            </a:lvl3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7038509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Gre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BD0925-A981-DA7D-4666-ADEC6325BA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36573CB-38BE-D27D-86AD-63288E9838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3415B6-44A6-4784-8A79-F796455C1D0A}" type="datetime1">
              <a:rPr lang="en-GB" smtClean="0"/>
              <a:t>06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A2B58F8-39EB-A7D2-B668-89264BAF07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Prostate Cancer UK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360966-A241-61F9-0186-71CA9BED39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53E11-492D-48B3-9F9B-09541CA2A39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BC4128C0-F24D-2AE7-702A-DF5EA7B6BE5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25520" y="1260474"/>
            <a:ext cx="7944167" cy="47974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3000"/>
              </a:spcBef>
              <a:buFont typeface="+mj-lt"/>
              <a:buNone/>
              <a:defRPr sz="2400" b="1"/>
            </a:lvl1pPr>
            <a:lvl2pPr marL="534988" indent="-177800">
              <a:lnSpc>
                <a:spcPct val="100000"/>
              </a:lnSpc>
              <a:buFont typeface="Wingdings" pitchFamily="2" charset="2"/>
              <a:buChar char="§"/>
              <a:tabLst/>
              <a:defRPr sz="2000" b="0" i="0"/>
            </a:lvl2pPr>
            <a:lvl3pPr marL="846138" indent="-131763">
              <a:lnSpc>
                <a:spcPct val="100000"/>
              </a:lnSpc>
              <a:buFont typeface="Wingdings" pitchFamily="2" charset="2"/>
              <a:buChar char="§"/>
              <a:tabLst/>
              <a:defRPr sz="1600" b="0" i="0"/>
            </a:lvl3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3001427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476B312F-EE93-4193-B70E-F09DC57B70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77460"/>
          <a:stretch/>
        </p:blipFill>
        <p:spPr>
          <a:xfrm>
            <a:off x="11653771" y="180975"/>
            <a:ext cx="381436" cy="73337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0BCBBBA-B749-218C-54ED-3B48437A0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724" y="1581461"/>
            <a:ext cx="10748963" cy="3695078"/>
          </a:xfrm>
        </p:spPr>
        <p:txBody>
          <a:bodyPr anchor="ctr"/>
          <a:lstStyle>
            <a:lvl1pPr algn="ctr">
              <a:lnSpc>
                <a:spcPct val="80000"/>
              </a:lnSpc>
              <a:defRPr sz="95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24B366-1493-255F-800A-A8D8A78C7F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0724" y="1080000"/>
            <a:ext cx="10748962" cy="3590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51E1AF-C1C4-4F74-E321-701371DE7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E98A38A-E8B3-48F5-AE99-141A790D864F}" type="datetime1">
              <a:rPr lang="en-GB" smtClean="0"/>
              <a:t>06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835622-3FCE-5C6C-9DE3-1020236E73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© Prostate Cancer UK 2023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B2CB09-77E4-9853-89E7-F1F73696B2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BA53E11-492D-48B3-9F9B-09541CA2A39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008208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30AC38-BED1-9031-E2E0-CB195EDFD8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B26F26-EA3D-40AC-124C-008BE90D71F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00000"/>
              </a:lnSpc>
              <a:spcAft>
                <a:spcPts val="100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CC11D5-984D-8680-D542-25A06BDC5C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854098-4879-4C74-B5B5-F5459707AC62}" type="datetime1">
              <a:rPr lang="en-GB" smtClean="0"/>
              <a:t>06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2E529F-F811-2979-BFFA-08BB8BC2F2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Prostate Cancer UK 2023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A69BFE-A663-D9A7-8252-C85369469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53E11-492D-48B3-9F9B-09541CA2A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192668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30AC38-BED1-9031-E2E0-CB195EDFD8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B26F26-EA3D-40AC-124C-008BE90D71F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00000"/>
              </a:lnSpc>
              <a:spcAft>
                <a:spcPts val="100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CC11D5-984D-8680-D542-25A06BDC5C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854098-4879-4C74-B5B5-F5459707AC62}" type="datetime1">
              <a:rPr lang="en-GB" smtClean="0"/>
              <a:t>06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2E529F-F811-2979-BFFA-08BB8BC2F2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Prostate Cancer UK 2023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A69BFE-A663-D9A7-8252-C85369469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53E11-492D-48B3-9F9B-09541CA2A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19269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459301-B726-091D-F443-6D6D874B9D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5255BA-CFD4-8A6E-DD47-65FFC416C1F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EDDDBD2-461A-C5E0-8752-A71C2C8A46E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CE1E4CE-A38E-FC7D-7079-E4BE50F59F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EC361-DC0B-4E14-A454-0DF92C97806E}" type="datetimeFigureOut">
              <a:rPr lang="en-GB" smtClean="0"/>
              <a:t>06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79AD00B-3FC0-57BF-BD1B-653ED26C4B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137D44F-D494-5DFE-07CD-BA2B093C8C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6F894-DC0A-4B7D-B84B-FED84D17F05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80999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Pink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30AC38-BED1-9031-E2E0-CB195EDFD8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B26F26-EA3D-40AC-124C-008BE90D71F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00000"/>
              </a:lnSpc>
              <a:spcAft>
                <a:spcPts val="100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CC11D5-984D-8680-D542-25A06BDC5C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854098-4879-4C74-B5B5-F5459707AC62}" type="datetime1">
              <a:rPr lang="en-GB" smtClean="0"/>
              <a:t>06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2E529F-F811-2979-BFFA-08BB8BC2F2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Prostate Cancer UK 2023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A69BFE-A663-D9A7-8252-C85369469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53E11-492D-48B3-9F9B-09541CA2A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369892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30AC38-BED1-9031-E2E0-CB195EDFD8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B26F26-EA3D-40AC-124C-008BE90D71F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00000"/>
              </a:lnSpc>
              <a:spcAft>
                <a:spcPts val="100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CC11D5-984D-8680-D542-25A06BDC5C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854098-4879-4C74-B5B5-F5459707AC62}" type="datetime1">
              <a:rPr lang="en-GB" smtClean="0"/>
              <a:t>06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2E529F-F811-2979-BFFA-08BB8BC2F2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Prostate Cancer UK 2023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A69BFE-A663-D9A7-8252-C85369469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53E11-492D-48B3-9F9B-09541CA2A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350982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Gre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30AC38-BED1-9031-E2E0-CB195EDFD8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B26F26-EA3D-40AC-124C-008BE90D71F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00000"/>
              </a:lnSpc>
              <a:spcAft>
                <a:spcPts val="1000"/>
              </a:spcAft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CC11D5-984D-8680-D542-25A06BDC5C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854098-4879-4C74-B5B5-F5459707AC62}" type="datetime1">
              <a:rPr lang="en-GB" smtClean="0"/>
              <a:t>06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2E529F-F811-2979-BFFA-08BB8BC2F2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Prostate Cancer UK 2023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A69BFE-A663-D9A7-8252-C85369469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53E11-492D-48B3-9F9B-09541CA2A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861224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30AC38-BED1-9031-E2E0-CB195EDFD8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B26F26-EA3D-40AC-124C-008BE90D71F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CC11D5-984D-8680-D542-25A06BDC5C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FFEBF83-CAC7-4782-B1FF-8E99EDCEF007}" type="datetime1">
              <a:rPr lang="en-GB" smtClean="0"/>
              <a:t>06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2E529F-F811-2979-BFFA-08BB8BC2F2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© Prostate Cancer UK 2023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A69BFE-A663-D9A7-8252-C85369469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BA53E11-492D-48B3-9F9B-09541CA2A39A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9A5E200-DF09-FE44-A2ED-DB1A5B6D5D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53771" y="180975"/>
            <a:ext cx="358840" cy="727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003002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ntro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7A7366-9A98-F128-0582-0CCAC01579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650EAF7-8C5F-CC4E-D0A3-945B04C832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2BC4FD-648C-4B6B-8A48-844C5259C866}" type="datetime1">
              <a:rPr lang="en-GB" smtClean="0"/>
              <a:t>06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DA22D4-154B-93A8-54E6-DF334DF746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Prostate Cancer UK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E5F2145-EFC3-35F4-03AF-1B072D63F5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53E11-492D-48B3-9F9B-09541CA2A39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3CD3647-5D99-C375-3039-558A7D44B9F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725" y="1260000"/>
            <a:ext cx="10748963" cy="1662113"/>
          </a:xfrm>
        </p:spPr>
        <p:txBody>
          <a:bodyPr/>
          <a:lstStyle>
            <a:lvl1pPr>
              <a:lnSpc>
                <a:spcPct val="80000"/>
              </a:lnSpc>
              <a:defRPr sz="5000" b="1"/>
            </a:lvl1pPr>
            <a:lvl2pPr>
              <a:lnSpc>
                <a:spcPct val="80000"/>
              </a:lnSpc>
              <a:defRPr sz="5000" b="0"/>
            </a:lvl2pPr>
            <a:lvl3pPr>
              <a:lnSpc>
                <a:spcPct val="80000"/>
              </a:lnSpc>
              <a:defRPr sz="4200"/>
            </a:lvl3pPr>
            <a:lvl4pPr>
              <a:lnSpc>
                <a:spcPct val="80000"/>
              </a:lnSpc>
              <a:defRPr sz="3200"/>
            </a:lvl4pPr>
            <a:lvl5pPr>
              <a:lnSpc>
                <a:spcPct val="80000"/>
              </a:lnSpc>
              <a:defRPr sz="3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094068-7289-B00B-8C49-BC4954F71C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724" y="3060000"/>
            <a:ext cx="10748963" cy="29979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192772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ntro and Conten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7A7366-9A98-F128-0582-0CCAC01579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650EAF7-8C5F-CC4E-D0A3-945B04C832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2BC4FD-648C-4B6B-8A48-844C5259C866}" type="datetime1">
              <a:rPr lang="en-GB" smtClean="0"/>
              <a:t>06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DA22D4-154B-93A8-54E6-DF334DF746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Prostate Cancer UK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E5F2145-EFC3-35F4-03AF-1B072D63F5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53E11-492D-48B3-9F9B-09541CA2A39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3CD3647-5D99-C375-3039-558A7D44B9F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725" y="1260000"/>
            <a:ext cx="10748963" cy="1662113"/>
          </a:xfrm>
        </p:spPr>
        <p:txBody>
          <a:bodyPr/>
          <a:lstStyle>
            <a:lvl1pPr>
              <a:lnSpc>
                <a:spcPct val="80000"/>
              </a:lnSpc>
              <a:defRPr sz="5000" b="1"/>
            </a:lvl1pPr>
            <a:lvl2pPr>
              <a:lnSpc>
                <a:spcPct val="80000"/>
              </a:lnSpc>
              <a:defRPr sz="5000" b="0"/>
            </a:lvl2pPr>
            <a:lvl3pPr>
              <a:lnSpc>
                <a:spcPct val="80000"/>
              </a:lnSpc>
              <a:defRPr sz="4200"/>
            </a:lvl3pPr>
            <a:lvl4pPr>
              <a:lnSpc>
                <a:spcPct val="80000"/>
              </a:lnSpc>
              <a:defRPr sz="3200"/>
            </a:lvl4pPr>
            <a:lvl5pPr>
              <a:lnSpc>
                <a:spcPct val="80000"/>
              </a:lnSpc>
              <a:defRPr sz="3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094068-7289-B00B-8C49-BC4954F71C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724" y="3060000"/>
            <a:ext cx="10748963" cy="29979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386173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ntro and Content Pink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7A7366-9A98-F128-0582-0CCAC01579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650EAF7-8C5F-CC4E-D0A3-945B04C832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2BC4FD-648C-4B6B-8A48-844C5259C866}" type="datetime1">
              <a:rPr lang="en-GB" smtClean="0"/>
              <a:t>06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DA22D4-154B-93A8-54E6-DF334DF746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Prostate Cancer UK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E5F2145-EFC3-35F4-03AF-1B072D63F5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53E11-492D-48B3-9F9B-09541CA2A39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3CD3647-5D99-C375-3039-558A7D44B9F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725" y="1260000"/>
            <a:ext cx="10748963" cy="1662113"/>
          </a:xfrm>
        </p:spPr>
        <p:txBody>
          <a:bodyPr/>
          <a:lstStyle>
            <a:lvl1pPr>
              <a:lnSpc>
                <a:spcPct val="80000"/>
              </a:lnSpc>
              <a:defRPr sz="5000" b="1"/>
            </a:lvl1pPr>
            <a:lvl2pPr>
              <a:lnSpc>
                <a:spcPct val="80000"/>
              </a:lnSpc>
              <a:defRPr sz="5000" b="0"/>
            </a:lvl2pPr>
            <a:lvl3pPr>
              <a:lnSpc>
                <a:spcPct val="80000"/>
              </a:lnSpc>
              <a:defRPr sz="4200"/>
            </a:lvl3pPr>
            <a:lvl4pPr>
              <a:lnSpc>
                <a:spcPct val="80000"/>
              </a:lnSpc>
              <a:defRPr sz="3200"/>
            </a:lvl4pPr>
            <a:lvl5pPr>
              <a:lnSpc>
                <a:spcPct val="80000"/>
              </a:lnSpc>
              <a:defRPr sz="3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094068-7289-B00B-8C49-BC4954F71C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724" y="3060000"/>
            <a:ext cx="10748963" cy="29979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648012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ntro and Content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7A7366-9A98-F128-0582-0CCAC01579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650EAF7-8C5F-CC4E-D0A3-945B04C832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2BC4FD-648C-4B6B-8A48-844C5259C866}" type="datetime1">
              <a:rPr lang="en-GB" smtClean="0"/>
              <a:t>06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DA22D4-154B-93A8-54E6-DF334DF746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Prostate Cancer UK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E5F2145-EFC3-35F4-03AF-1B072D63F5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53E11-492D-48B3-9F9B-09541CA2A39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3CD3647-5D99-C375-3039-558A7D44B9F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725" y="1260000"/>
            <a:ext cx="10748963" cy="1662113"/>
          </a:xfrm>
        </p:spPr>
        <p:txBody>
          <a:bodyPr/>
          <a:lstStyle>
            <a:lvl1pPr>
              <a:lnSpc>
                <a:spcPct val="80000"/>
              </a:lnSpc>
              <a:defRPr sz="5000" b="1"/>
            </a:lvl1pPr>
            <a:lvl2pPr>
              <a:lnSpc>
                <a:spcPct val="80000"/>
              </a:lnSpc>
              <a:defRPr sz="5000" b="0"/>
            </a:lvl2pPr>
            <a:lvl3pPr>
              <a:lnSpc>
                <a:spcPct val="80000"/>
              </a:lnSpc>
              <a:defRPr sz="4200"/>
            </a:lvl3pPr>
            <a:lvl4pPr>
              <a:lnSpc>
                <a:spcPct val="80000"/>
              </a:lnSpc>
              <a:defRPr sz="3200"/>
            </a:lvl4pPr>
            <a:lvl5pPr>
              <a:lnSpc>
                <a:spcPct val="80000"/>
              </a:lnSpc>
              <a:defRPr sz="3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094068-7289-B00B-8C49-BC4954F71C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724" y="3060000"/>
            <a:ext cx="10748963" cy="29979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113452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ntro and Content Gre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7A7366-9A98-F128-0582-0CCAC01579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650EAF7-8C5F-CC4E-D0A3-945B04C832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2BC4FD-648C-4B6B-8A48-844C5259C866}" type="datetime1">
              <a:rPr lang="en-GB" smtClean="0"/>
              <a:t>06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DA22D4-154B-93A8-54E6-DF334DF746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Prostate Cancer UK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E5F2145-EFC3-35F4-03AF-1B072D63F5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53E11-492D-48B3-9F9B-09541CA2A39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3CD3647-5D99-C375-3039-558A7D44B9F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725" y="1260000"/>
            <a:ext cx="10748963" cy="1662113"/>
          </a:xfrm>
        </p:spPr>
        <p:txBody>
          <a:bodyPr/>
          <a:lstStyle>
            <a:lvl1pPr>
              <a:lnSpc>
                <a:spcPct val="80000"/>
              </a:lnSpc>
              <a:defRPr sz="5000" b="1"/>
            </a:lvl1pPr>
            <a:lvl2pPr>
              <a:lnSpc>
                <a:spcPct val="80000"/>
              </a:lnSpc>
              <a:defRPr sz="5000" b="0"/>
            </a:lvl2pPr>
            <a:lvl3pPr>
              <a:lnSpc>
                <a:spcPct val="80000"/>
              </a:lnSpc>
              <a:defRPr sz="4200"/>
            </a:lvl3pPr>
            <a:lvl4pPr>
              <a:lnSpc>
                <a:spcPct val="80000"/>
              </a:lnSpc>
              <a:defRPr sz="3200"/>
            </a:lvl4pPr>
            <a:lvl5pPr>
              <a:lnSpc>
                <a:spcPct val="80000"/>
              </a:lnSpc>
              <a:defRPr sz="3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094068-7289-B00B-8C49-BC4954F71C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724" y="3060000"/>
            <a:ext cx="10748963" cy="29979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897191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Intro and Content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7A7366-9A98-F128-0582-0CCAC01579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650EAF7-8C5F-CC4E-D0A3-945B04C832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33BDE67-4EA6-4349-BB05-B7D31D74BBB0}" type="datetime1">
              <a:rPr lang="en-GB" smtClean="0"/>
              <a:t>06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DA22D4-154B-93A8-54E6-DF334DF746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© Prostate Cancer UK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E5F2145-EFC3-35F4-03AF-1B072D63F5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BA53E11-492D-48B3-9F9B-09541CA2A39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3CD3647-5D99-C375-3039-558A7D44B9F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725" y="1260000"/>
            <a:ext cx="10748963" cy="1662113"/>
          </a:xfrm>
        </p:spPr>
        <p:txBody>
          <a:bodyPr/>
          <a:lstStyle>
            <a:lvl1pPr>
              <a:lnSpc>
                <a:spcPct val="80000"/>
              </a:lnSpc>
              <a:defRPr sz="5000" b="1">
                <a:solidFill>
                  <a:schemeClr val="bg1"/>
                </a:solidFill>
              </a:defRPr>
            </a:lvl1pPr>
            <a:lvl2pPr>
              <a:lnSpc>
                <a:spcPct val="80000"/>
              </a:lnSpc>
              <a:defRPr sz="5000" b="0">
                <a:solidFill>
                  <a:schemeClr val="bg1"/>
                </a:solidFill>
              </a:defRPr>
            </a:lvl2pPr>
            <a:lvl3pPr>
              <a:lnSpc>
                <a:spcPct val="80000"/>
              </a:lnSpc>
              <a:defRPr sz="4200">
                <a:solidFill>
                  <a:schemeClr val="bg1"/>
                </a:solidFill>
              </a:defRPr>
            </a:lvl3pPr>
            <a:lvl4pPr>
              <a:lnSpc>
                <a:spcPct val="80000"/>
              </a:lnSpc>
              <a:defRPr sz="3200">
                <a:solidFill>
                  <a:schemeClr val="bg1"/>
                </a:solidFill>
              </a:defRPr>
            </a:lvl4pPr>
            <a:lvl5pPr>
              <a:lnSpc>
                <a:spcPct val="80000"/>
              </a:lnSpc>
              <a:defRPr sz="3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094068-7289-B00B-8C49-BC4954F71C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724" y="3060000"/>
            <a:ext cx="10748963" cy="2997900"/>
          </a:xfrm>
        </p:spPr>
        <p:txBody>
          <a:bodyPr/>
          <a:lstStyle>
            <a:lvl1pPr>
              <a:lnSpc>
                <a:spcPct val="100000"/>
              </a:lnSpc>
              <a:spcAft>
                <a:spcPts val="100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60EBA82-92B1-F8BD-8353-6AFE2E75E08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53771" y="180975"/>
            <a:ext cx="358840" cy="727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11603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C7EBCB-4FBD-DAEA-B191-3F7913D5FC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2C4D3A-2693-893B-F1F2-D11E1D9567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9F330A6-5BC0-213C-AD51-4EC07FAFE5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8CA0635-049E-F2CE-C2E0-FEFB9520B1C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F387720-BCF0-8FB3-7203-7511C532E89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FA73078-EF0B-3A9D-4C64-AB928DA226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EC361-DC0B-4E14-A454-0DF92C97806E}" type="datetimeFigureOut">
              <a:rPr lang="en-GB" smtClean="0"/>
              <a:t>06/06/2024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39E78A7-898F-D253-49D5-B344E3841D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C998EFA-3503-41FE-8BF3-EE4F4192A4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6F894-DC0A-4B7D-B84B-FED84D17F05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728747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2934A7-BB27-0705-778A-9BC1A80F58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23D824-2B92-00E0-3B10-2E7351FAE03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0725" y="1260474"/>
            <a:ext cx="5041373" cy="4797425"/>
          </a:xfrm>
        </p:spPr>
        <p:txBody>
          <a:bodyPr/>
          <a:lstStyle>
            <a:lvl1pPr>
              <a:lnSpc>
                <a:spcPct val="100000"/>
              </a:lnSpc>
              <a:spcAft>
                <a:spcPts val="1000"/>
              </a:spcAft>
              <a:defRPr/>
            </a:lvl1pPr>
            <a:lvl3pPr>
              <a:spcAft>
                <a:spcPts val="100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316325E-A8D8-4356-8054-A314C1AF0A0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29904" y="1260473"/>
            <a:ext cx="5041373" cy="4797425"/>
          </a:xfrm>
        </p:spPr>
        <p:txBody>
          <a:bodyPr/>
          <a:lstStyle>
            <a:lvl1pPr>
              <a:lnSpc>
                <a:spcPct val="100000"/>
              </a:lnSpc>
              <a:spcAft>
                <a:spcPts val="1000"/>
              </a:spcAft>
              <a:defRPr/>
            </a:lvl1pPr>
            <a:lvl3pPr>
              <a:spcAft>
                <a:spcPts val="100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109A4F-CF52-ABB2-91FD-CF9C01BF0D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D4810-FA06-44E7-BFA8-7146F7961E95}" type="datetime1">
              <a:rPr lang="en-GB" smtClean="0"/>
              <a:t>06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C5B9B47-9D04-96FB-8B95-D7BC38470F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Prostate Cancer UK 2023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59D9458-0376-0EC1-BA89-A49552E192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53E11-492D-48B3-9F9B-09541CA2A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205578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2934A7-BB27-0705-778A-9BC1A80F58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23D824-2B92-00E0-3B10-2E7351FAE03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0725" y="1260474"/>
            <a:ext cx="5041373" cy="4797425"/>
          </a:xfrm>
        </p:spPr>
        <p:txBody>
          <a:bodyPr/>
          <a:lstStyle>
            <a:lvl1pPr>
              <a:lnSpc>
                <a:spcPct val="100000"/>
              </a:lnSpc>
              <a:spcAft>
                <a:spcPts val="1000"/>
              </a:spcAft>
              <a:defRPr/>
            </a:lvl1pPr>
            <a:lvl3pPr>
              <a:spcAft>
                <a:spcPts val="100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316325E-A8D8-4356-8054-A314C1AF0A0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29904" y="1260473"/>
            <a:ext cx="5041373" cy="4797425"/>
          </a:xfrm>
        </p:spPr>
        <p:txBody>
          <a:bodyPr/>
          <a:lstStyle>
            <a:lvl1pPr>
              <a:lnSpc>
                <a:spcPct val="100000"/>
              </a:lnSpc>
              <a:spcAft>
                <a:spcPts val="1000"/>
              </a:spcAft>
              <a:defRPr/>
            </a:lvl1pPr>
            <a:lvl3pPr>
              <a:spcAft>
                <a:spcPts val="100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109A4F-CF52-ABB2-91FD-CF9C01BF0D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D4810-FA06-44E7-BFA8-7146F7961E95}" type="datetime1">
              <a:rPr lang="en-GB" smtClean="0"/>
              <a:t>06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C5B9B47-9D04-96FB-8B95-D7BC38470F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Prostate Cancer UK 2023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59D9458-0376-0EC1-BA89-A49552E192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53E11-492D-48B3-9F9B-09541CA2A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561191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Pink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2934A7-BB27-0705-778A-9BC1A80F58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23D824-2B92-00E0-3B10-2E7351FAE03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0725" y="1260474"/>
            <a:ext cx="5041373" cy="4797425"/>
          </a:xfrm>
        </p:spPr>
        <p:txBody>
          <a:bodyPr/>
          <a:lstStyle>
            <a:lvl1pPr>
              <a:lnSpc>
                <a:spcPct val="100000"/>
              </a:lnSpc>
              <a:spcAft>
                <a:spcPts val="1000"/>
              </a:spcAft>
              <a:defRPr/>
            </a:lvl1pPr>
            <a:lvl3pPr>
              <a:spcAft>
                <a:spcPts val="100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316325E-A8D8-4356-8054-A314C1AF0A0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29904" y="1260473"/>
            <a:ext cx="5041373" cy="4797425"/>
          </a:xfrm>
        </p:spPr>
        <p:txBody>
          <a:bodyPr/>
          <a:lstStyle>
            <a:lvl1pPr>
              <a:lnSpc>
                <a:spcPct val="100000"/>
              </a:lnSpc>
              <a:spcAft>
                <a:spcPts val="1000"/>
              </a:spcAft>
              <a:defRPr/>
            </a:lvl1pPr>
            <a:lvl3pPr>
              <a:spcAft>
                <a:spcPts val="100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109A4F-CF52-ABB2-91FD-CF9C01BF0D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D4810-FA06-44E7-BFA8-7146F7961E95}" type="datetime1">
              <a:rPr lang="en-GB" smtClean="0"/>
              <a:t>06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C5B9B47-9D04-96FB-8B95-D7BC38470F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Prostate Cancer UK 2023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59D9458-0376-0EC1-BA89-A49552E192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53E11-492D-48B3-9F9B-09541CA2A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381945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2934A7-BB27-0705-778A-9BC1A80F58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23D824-2B92-00E0-3B10-2E7351FAE03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0725" y="1260474"/>
            <a:ext cx="5041373" cy="4797425"/>
          </a:xfrm>
        </p:spPr>
        <p:txBody>
          <a:bodyPr/>
          <a:lstStyle>
            <a:lvl1pPr>
              <a:lnSpc>
                <a:spcPct val="100000"/>
              </a:lnSpc>
              <a:spcAft>
                <a:spcPts val="1000"/>
              </a:spcAft>
              <a:defRPr/>
            </a:lvl1pPr>
            <a:lvl3pPr>
              <a:spcAft>
                <a:spcPts val="100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316325E-A8D8-4356-8054-A314C1AF0A0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29904" y="1260473"/>
            <a:ext cx="5041373" cy="4797425"/>
          </a:xfrm>
        </p:spPr>
        <p:txBody>
          <a:bodyPr/>
          <a:lstStyle>
            <a:lvl1pPr>
              <a:lnSpc>
                <a:spcPct val="100000"/>
              </a:lnSpc>
              <a:spcAft>
                <a:spcPts val="1000"/>
              </a:spcAft>
              <a:defRPr/>
            </a:lvl1pPr>
            <a:lvl3pPr>
              <a:spcAft>
                <a:spcPts val="100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109A4F-CF52-ABB2-91FD-CF9C01BF0D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D4810-FA06-44E7-BFA8-7146F7961E95}" type="datetime1">
              <a:rPr lang="en-GB" smtClean="0"/>
              <a:t>06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C5B9B47-9D04-96FB-8B95-D7BC38470F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Prostate Cancer UK 2023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59D9458-0376-0EC1-BA89-A49552E192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53E11-492D-48B3-9F9B-09541CA2A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845945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Gre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2934A7-BB27-0705-778A-9BC1A80F58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23D824-2B92-00E0-3B10-2E7351FAE03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0725" y="1260474"/>
            <a:ext cx="5041373" cy="4797425"/>
          </a:xfrm>
        </p:spPr>
        <p:txBody>
          <a:bodyPr/>
          <a:lstStyle>
            <a:lvl1pPr>
              <a:lnSpc>
                <a:spcPct val="100000"/>
              </a:lnSpc>
              <a:spcAft>
                <a:spcPts val="1000"/>
              </a:spcAft>
              <a:defRPr/>
            </a:lvl1pPr>
            <a:lvl3pPr>
              <a:spcAft>
                <a:spcPts val="100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316325E-A8D8-4356-8054-A314C1AF0A0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29904" y="1260473"/>
            <a:ext cx="5041373" cy="4797425"/>
          </a:xfrm>
        </p:spPr>
        <p:txBody>
          <a:bodyPr/>
          <a:lstStyle>
            <a:lvl1pPr>
              <a:lnSpc>
                <a:spcPct val="100000"/>
              </a:lnSpc>
              <a:spcAft>
                <a:spcPts val="1000"/>
              </a:spcAft>
              <a:defRPr/>
            </a:lvl1pPr>
            <a:lvl3pPr>
              <a:spcAft>
                <a:spcPts val="100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109A4F-CF52-ABB2-91FD-CF9C01BF0D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D4810-FA06-44E7-BFA8-7146F7961E95}" type="datetime1">
              <a:rPr lang="en-GB" smtClean="0"/>
              <a:t>06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C5B9B47-9D04-96FB-8B95-D7BC38470F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Prostate Cancer UK 2023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59D9458-0376-0EC1-BA89-A49552E192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53E11-492D-48B3-9F9B-09541CA2A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7122933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2934A7-BB27-0705-778A-9BC1A80F58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23D824-2B92-00E0-3B10-2E7351FAE03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0725" y="1260474"/>
            <a:ext cx="5041373" cy="47974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316325E-A8D8-4356-8054-A314C1AF0A0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33512" y="1260473"/>
            <a:ext cx="5041373" cy="47974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109A4F-CF52-ABB2-91FD-CF9C01BF0D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F54AF9C-2356-4BAB-8A75-48397B8A23DC}" type="datetime1">
              <a:rPr lang="en-GB" smtClean="0"/>
              <a:t>06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C5B9B47-9D04-96FB-8B95-D7BC38470F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© Prostate Cancer UK 2023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59D9458-0376-0EC1-BA89-A49552E192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BA53E11-492D-48B3-9F9B-09541CA2A39A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C5ABD5D-1CC8-F801-5A82-13F43A4997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53771" y="180975"/>
            <a:ext cx="358840" cy="727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402060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Pull-ou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F66DCD-89BC-6685-558F-4E65B51953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24B524A-DA86-39D0-66CA-AD8081A90F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AACB9F1-1143-4706-9935-AD3EB3C0248A}" type="datetime1">
              <a:rPr lang="en-GB" smtClean="0"/>
              <a:t>06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30E8396-E633-4B90-7621-8146356A2C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© Prostate Cancer UK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FE4CDD-79C3-038E-C143-A7A4323F8E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BA53E11-492D-48B3-9F9B-09541CA2A39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6462FDA-56D7-A2A5-AB3F-AF86901DBF2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724" y="1260475"/>
            <a:ext cx="10748963" cy="4337050"/>
          </a:xfrm>
        </p:spPr>
        <p:txBody>
          <a:bodyPr anchor="ctr"/>
          <a:lstStyle>
            <a:lvl1pPr algn="ctr">
              <a:lnSpc>
                <a:spcPct val="80000"/>
              </a:lnSpc>
              <a:defRPr sz="70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defRPr sz="7000" b="0">
                <a:solidFill>
                  <a:schemeClr val="bg1"/>
                </a:solidFill>
              </a:defRPr>
            </a:lvl2pPr>
            <a:lvl3pPr algn="ctr">
              <a:lnSpc>
                <a:spcPct val="80000"/>
              </a:lnSpc>
              <a:defRPr sz="7000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defRPr sz="70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defRPr sz="7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452494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reeform 9">
            <a:extLst>
              <a:ext uri="{FF2B5EF4-FFF2-40B4-BE49-F238E27FC236}">
                <a16:creationId xmlns:a16="http://schemas.microsoft.com/office/drawing/2014/main" id="{14F738DF-AF62-41B7-85B3-7F294A5C74A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auto">
          <a:xfrm>
            <a:off x="5935663" y="498475"/>
            <a:ext cx="2886075" cy="3494088"/>
          </a:xfrm>
          <a:custGeom>
            <a:avLst/>
            <a:gdLst>
              <a:gd name="T0" fmla="*/ 1475 w 6754"/>
              <a:gd name="T1" fmla="*/ 139 h 8185"/>
              <a:gd name="T2" fmla="*/ 1475 w 6754"/>
              <a:gd name="T3" fmla="*/ 139 h 8185"/>
              <a:gd name="T4" fmla="*/ 0 w 6754"/>
              <a:gd name="T5" fmla="*/ 6169 h 8185"/>
              <a:gd name="T6" fmla="*/ 570 w 6754"/>
              <a:gd name="T7" fmla="*/ 7165 h 8185"/>
              <a:gd name="T8" fmla="*/ 4327 w 6754"/>
              <a:gd name="T9" fmla="*/ 8185 h 8185"/>
              <a:gd name="T10" fmla="*/ 5979 w 6754"/>
              <a:gd name="T11" fmla="*/ 7454 h 8185"/>
              <a:gd name="T12" fmla="*/ 6754 w 6754"/>
              <a:gd name="T13" fmla="*/ 1483 h 8185"/>
              <a:gd name="T14" fmla="*/ 6451 w 6754"/>
              <a:gd name="T15" fmla="*/ 929 h 8185"/>
              <a:gd name="T16" fmla="*/ 2203 w 6754"/>
              <a:gd name="T17" fmla="*/ 0 h 8185"/>
              <a:gd name="T18" fmla="*/ 1475 w 6754"/>
              <a:gd name="T19" fmla="*/ 139 h 81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754" h="8185">
                <a:moveTo>
                  <a:pt x="1475" y="139"/>
                </a:moveTo>
                <a:lnTo>
                  <a:pt x="1475" y="139"/>
                </a:lnTo>
                <a:lnTo>
                  <a:pt x="0" y="6169"/>
                </a:lnTo>
                <a:lnTo>
                  <a:pt x="570" y="7165"/>
                </a:lnTo>
                <a:lnTo>
                  <a:pt x="4327" y="8185"/>
                </a:lnTo>
                <a:lnTo>
                  <a:pt x="5979" y="7454"/>
                </a:lnTo>
                <a:lnTo>
                  <a:pt x="6754" y="1483"/>
                </a:lnTo>
                <a:lnTo>
                  <a:pt x="6451" y="929"/>
                </a:lnTo>
                <a:lnTo>
                  <a:pt x="2203" y="0"/>
                </a:lnTo>
                <a:lnTo>
                  <a:pt x="1475" y="13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5" name="Picture Placeholder 9">
            <a:extLst>
              <a:ext uri="{FF2B5EF4-FFF2-40B4-BE49-F238E27FC236}">
                <a16:creationId xmlns:a16="http://schemas.microsoft.com/office/drawing/2014/main" id="{FC540B1D-50B1-93E4-3EF4-C0945FD2A5C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002713" y="0"/>
            <a:ext cx="3189287" cy="4049713"/>
          </a:xfrm>
          <a:custGeom>
            <a:avLst/>
            <a:gdLst>
              <a:gd name="connsiteX0" fmla="*/ 660565 w 3191123"/>
              <a:gd name="connsiteY0" fmla="*/ 0 h 4049713"/>
              <a:gd name="connsiteX1" fmla="*/ 3191123 w 3191123"/>
              <a:gd name="connsiteY1" fmla="*/ 0 h 4049713"/>
              <a:gd name="connsiteX2" fmla="*/ 3191123 w 3191123"/>
              <a:gd name="connsiteY2" fmla="*/ 3995062 h 4049713"/>
              <a:gd name="connsiteX3" fmla="*/ 157529 w 3191123"/>
              <a:gd name="connsiteY3" fmla="*/ 4049713 h 4049713"/>
              <a:gd name="connsiteX4" fmla="*/ 0 w 3191123"/>
              <a:gd name="connsiteY4" fmla="*/ 3837761 h 4049713"/>
              <a:gd name="connsiteX5" fmla="*/ 0 w 3191123"/>
              <a:gd name="connsiteY5" fmla="*/ 2793837 h 4049713"/>
              <a:gd name="connsiteX6" fmla="*/ 365155 w 3191123"/>
              <a:gd name="connsiteY6" fmla="*/ 200476 h 4049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91123" h="4049713">
                <a:moveTo>
                  <a:pt x="660565" y="0"/>
                </a:moveTo>
                <a:lnTo>
                  <a:pt x="3191123" y="0"/>
                </a:lnTo>
                <a:lnTo>
                  <a:pt x="3191123" y="3995062"/>
                </a:lnTo>
                <a:lnTo>
                  <a:pt x="157529" y="4049713"/>
                </a:lnTo>
                <a:lnTo>
                  <a:pt x="0" y="3837761"/>
                </a:lnTo>
                <a:lnTo>
                  <a:pt x="0" y="2793837"/>
                </a:lnTo>
                <a:lnTo>
                  <a:pt x="365155" y="20047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z="1600">
                <a:solidFill>
                  <a:schemeClr val="bg1"/>
                </a:solidFill>
              </a:rPr>
              <a:t>Click icon to add picture</a:t>
            </a:r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29" name="Picture Placeholder 20">
            <a:extLst>
              <a:ext uri="{FF2B5EF4-FFF2-40B4-BE49-F238E27FC236}">
                <a16:creationId xmlns:a16="http://schemas.microsoft.com/office/drawing/2014/main" id="{86AF1817-6B99-E678-B7EC-18DEE3F6D09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9375" y="4170363"/>
            <a:ext cx="4983163" cy="2687637"/>
          </a:xfrm>
          <a:custGeom>
            <a:avLst/>
            <a:gdLst>
              <a:gd name="connsiteX0" fmla="*/ 344395 w 4973906"/>
              <a:gd name="connsiteY0" fmla="*/ 0 h 2687637"/>
              <a:gd name="connsiteX1" fmla="*/ 4563021 w 4973906"/>
              <a:gd name="connsiteY1" fmla="*/ 107526 h 2687637"/>
              <a:gd name="connsiteX2" fmla="*/ 4973906 w 4973906"/>
              <a:gd name="connsiteY2" fmla="*/ 533788 h 2687637"/>
              <a:gd name="connsiteX3" fmla="*/ 4570456 w 4973906"/>
              <a:gd name="connsiteY3" fmla="*/ 2687637 h 2687637"/>
              <a:gd name="connsiteX4" fmla="*/ 0 w 4973906"/>
              <a:gd name="connsiteY4" fmla="*/ 2687637 h 2687637"/>
              <a:gd name="connsiteX5" fmla="*/ 173122 w 4973906"/>
              <a:gd name="connsiteY5" fmla="*/ 252173 h 2687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73906" h="2687637">
                <a:moveTo>
                  <a:pt x="344395" y="0"/>
                </a:moveTo>
                <a:lnTo>
                  <a:pt x="4563021" y="107526"/>
                </a:lnTo>
                <a:lnTo>
                  <a:pt x="4973906" y="533788"/>
                </a:lnTo>
                <a:lnTo>
                  <a:pt x="4570456" y="2687637"/>
                </a:lnTo>
                <a:lnTo>
                  <a:pt x="0" y="2687637"/>
                </a:lnTo>
                <a:lnTo>
                  <a:pt x="173122" y="25217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algn="ctr" rtl="0"/>
            <a:r>
              <a:rPr lang="en-US" sz="1600">
                <a:solidFill>
                  <a:schemeClr val="bg1"/>
                </a:solidFill>
              </a:rPr>
              <a:t>Click icon to add picture</a:t>
            </a:r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2934A7-BB27-0705-778A-9BC1A80F58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389" y="180974"/>
            <a:ext cx="5916612" cy="75249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23D824-2B92-00E0-3B10-2E7351FAE03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0725" y="1260474"/>
            <a:ext cx="5041373" cy="4797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109A4F-CF52-ABB2-91FD-CF9C01BF0D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3A850B-CDC5-41D1-84BD-7FFA6B4B1506}" type="datetime1">
              <a:rPr lang="en-GB" smtClean="0"/>
              <a:t>06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C5B9B47-9D04-96FB-8B95-D7BC38470F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Prostate Cancer UK 2023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59D9458-0376-0EC1-BA89-A49552E192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53E11-492D-48B3-9F9B-09541CA2A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269420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hree Images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reeform 9">
            <a:extLst>
              <a:ext uri="{FF2B5EF4-FFF2-40B4-BE49-F238E27FC236}">
                <a16:creationId xmlns:a16="http://schemas.microsoft.com/office/drawing/2014/main" id="{14F738DF-AF62-41B7-85B3-7F294A5C74A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auto">
          <a:xfrm>
            <a:off x="5935663" y="498475"/>
            <a:ext cx="2886075" cy="3494088"/>
          </a:xfrm>
          <a:custGeom>
            <a:avLst/>
            <a:gdLst>
              <a:gd name="T0" fmla="*/ 1475 w 6754"/>
              <a:gd name="T1" fmla="*/ 139 h 8185"/>
              <a:gd name="T2" fmla="*/ 1475 w 6754"/>
              <a:gd name="T3" fmla="*/ 139 h 8185"/>
              <a:gd name="T4" fmla="*/ 0 w 6754"/>
              <a:gd name="T5" fmla="*/ 6169 h 8185"/>
              <a:gd name="T6" fmla="*/ 570 w 6754"/>
              <a:gd name="T7" fmla="*/ 7165 h 8185"/>
              <a:gd name="T8" fmla="*/ 4327 w 6754"/>
              <a:gd name="T9" fmla="*/ 8185 h 8185"/>
              <a:gd name="T10" fmla="*/ 5979 w 6754"/>
              <a:gd name="T11" fmla="*/ 7454 h 8185"/>
              <a:gd name="T12" fmla="*/ 6754 w 6754"/>
              <a:gd name="T13" fmla="*/ 1483 h 8185"/>
              <a:gd name="T14" fmla="*/ 6451 w 6754"/>
              <a:gd name="T15" fmla="*/ 929 h 8185"/>
              <a:gd name="T16" fmla="*/ 2203 w 6754"/>
              <a:gd name="T17" fmla="*/ 0 h 8185"/>
              <a:gd name="T18" fmla="*/ 1475 w 6754"/>
              <a:gd name="T19" fmla="*/ 139 h 81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754" h="8185">
                <a:moveTo>
                  <a:pt x="1475" y="139"/>
                </a:moveTo>
                <a:lnTo>
                  <a:pt x="1475" y="139"/>
                </a:lnTo>
                <a:lnTo>
                  <a:pt x="0" y="6169"/>
                </a:lnTo>
                <a:lnTo>
                  <a:pt x="570" y="7165"/>
                </a:lnTo>
                <a:lnTo>
                  <a:pt x="4327" y="8185"/>
                </a:lnTo>
                <a:lnTo>
                  <a:pt x="5979" y="7454"/>
                </a:lnTo>
                <a:lnTo>
                  <a:pt x="6754" y="1483"/>
                </a:lnTo>
                <a:lnTo>
                  <a:pt x="6451" y="929"/>
                </a:lnTo>
                <a:lnTo>
                  <a:pt x="2203" y="0"/>
                </a:lnTo>
                <a:lnTo>
                  <a:pt x="1475" y="13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5" name="Picture Placeholder 9">
            <a:extLst>
              <a:ext uri="{FF2B5EF4-FFF2-40B4-BE49-F238E27FC236}">
                <a16:creationId xmlns:a16="http://schemas.microsoft.com/office/drawing/2014/main" id="{FC540B1D-50B1-93E4-3EF4-C0945FD2A5C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002713" y="0"/>
            <a:ext cx="3189287" cy="4049713"/>
          </a:xfrm>
          <a:custGeom>
            <a:avLst/>
            <a:gdLst>
              <a:gd name="connsiteX0" fmla="*/ 660565 w 3191123"/>
              <a:gd name="connsiteY0" fmla="*/ 0 h 4049713"/>
              <a:gd name="connsiteX1" fmla="*/ 3191123 w 3191123"/>
              <a:gd name="connsiteY1" fmla="*/ 0 h 4049713"/>
              <a:gd name="connsiteX2" fmla="*/ 3191123 w 3191123"/>
              <a:gd name="connsiteY2" fmla="*/ 3995062 h 4049713"/>
              <a:gd name="connsiteX3" fmla="*/ 157529 w 3191123"/>
              <a:gd name="connsiteY3" fmla="*/ 4049713 h 4049713"/>
              <a:gd name="connsiteX4" fmla="*/ 0 w 3191123"/>
              <a:gd name="connsiteY4" fmla="*/ 3837761 h 4049713"/>
              <a:gd name="connsiteX5" fmla="*/ 0 w 3191123"/>
              <a:gd name="connsiteY5" fmla="*/ 2793837 h 4049713"/>
              <a:gd name="connsiteX6" fmla="*/ 365155 w 3191123"/>
              <a:gd name="connsiteY6" fmla="*/ 200476 h 4049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91123" h="4049713">
                <a:moveTo>
                  <a:pt x="660565" y="0"/>
                </a:moveTo>
                <a:lnTo>
                  <a:pt x="3191123" y="0"/>
                </a:lnTo>
                <a:lnTo>
                  <a:pt x="3191123" y="3995062"/>
                </a:lnTo>
                <a:lnTo>
                  <a:pt x="157529" y="4049713"/>
                </a:lnTo>
                <a:lnTo>
                  <a:pt x="0" y="3837761"/>
                </a:lnTo>
                <a:lnTo>
                  <a:pt x="0" y="2793837"/>
                </a:lnTo>
                <a:lnTo>
                  <a:pt x="365155" y="20047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z="1600">
                <a:solidFill>
                  <a:schemeClr val="bg1"/>
                </a:solidFill>
              </a:rPr>
              <a:t>Click icon to add picture</a:t>
            </a:r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29" name="Picture Placeholder 20">
            <a:extLst>
              <a:ext uri="{FF2B5EF4-FFF2-40B4-BE49-F238E27FC236}">
                <a16:creationId xmlns:a16="http://schemas.microsoft.com/office/drawing/2014/main" id="{86AF1817-6B99-E678-B7EC-18DEE3F6D09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9375" y="4170363"/>
            <a:ext cx="4983163" cy="2687637"/>
          </a:xfrm>
          <a:custGeom>
            <a:avLst/>
            <a:gdLst>
              <a:gd name="connsiteX0" fmla="*/ 344395 w 4973906"/>
              <a:gd name="connsiteY0" fmla="*/ 0 h 2687637"/>
              <a:gd name="connsiteX1" fmla="*/ 4563021 w 4973906"/>
              <a:gd name="connsiteY1" fmla="*/ 107526 h 2687637"/>
              <a:gd name="connsiteX2" fmla="*/ 4973906 w 4973906"/>
              <a:gd name="connsiteY2" fmla="*/ 533788 h 2687637"/>
              <a:gd name="connsiteX3" fmla="*/ 4570456 w 4973906"/>
              <a:gd name="connsiteY3" fmla="*/ 2687637 h 2687637"/>
              <a:gd name="connsiteX4" fmla="*/ 0 w 4973906"/>
              <a:gd name="connsiteY4" fmla="*/ 2687637 h 2687637"/>
              <a:gd name="connsiteX5" fmla="*/ 173122 w 4973906"/>
              <a:gd name="connsiteY5" fmla="*/ 252173 h 2687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73906" h="2687637">
                <a:moveTo>
                  <a:pt x="344395" y="0"/>
                </a:moveTo>
                <a:lnTo>
                  <a:pt x="4563021" y="107526"/>
                </a:lnTo>
                <a:lnTo>
                  <a:pt x="4973906" y="533788"/>
                </a:lnTo>
                <a:lnTo>
                  <a:pt x="4570456" y="2687637"/>
                </a:lnTo>
                <a:lnTo>
                  <a:pt x="0" y="2687637"/>
                </a:lnTo>
                <a:lnTo>
                  <a:pt x="173122" y="25217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algn="ctr" rtl="0"/>
            <a:r>
              <a:rPr lang="en-US" sz="1600">
                <a:solidFill>
                  <a:schemeClr val="bg1"/>
                </a:solidFill>
              </a:rPr>
              <a:t>Click icon to add picture</a:t>
            </a:r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2934A7-BB27-0705-778A-9BC1A80F58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389" y="180974"/>
            <a:ext cx="5916612" cy="75249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23D824-2B92-00E0-3B10-2E7351FAE03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0725" y="1260474"/>
            <a:ext cx="5041373" cy="4797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109A4F-CF52-ABB2-91FD-CF9C01BF0D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3A850B-CDC5-41D1-84BD-7FFA6B4B1506}" type="datetime1">
              <a:rPr lang="en-GB" smtClean="0"/>
              <a:t>06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C5B9B47-9D04-96FB-8B95-D7BC38470F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Prostate Cancer UK 2023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59D9458-0376-0EC1-BA89-A49552E192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53E11-492D-48B3-9F9B-09541CA2A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2509089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hree Images Pink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reeform 9">
            <a:extLst>
              <a:ext uri="{FF2B5EF4-FFF2-40B4-BE49-F238E27FC236}">
                <a16:creationId xmlns:a16="http://schemas.microsoft.com/office/drawing/2014/main" id="{14F738DF-AF62-41B7-85B3-7F294A5C74A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auto">
          <a:xfrm>
            <a:off x="5935663" y="498475"/>
            <a:ext cx="2886075" cy="3494088"/>
          </a:xfrm>
          <a:custGeom>
            <a:avLst/>
            <a:gdLst>
              <a:gd name="T0" fmla="*/ 1475 w 6754"/>
              <a:gd name="T1" fmla="*/ 139 h 8185"/>
              <a:gd name="T2" fmla="*/ 1475 w 6754"/>
              <a:gd name="T3" fmla="*/ 139 h 8185"/>
              <a:gd name="T4" fmla="*/ 0 w 6754"/>
              <a:gd name="T5" fmla="*/ 6169 h 8185"/>
              <a:gd name="T6" fmla="*/ 570 w 6754"/>
              <a:gd name="T7" fmla="*/ 7165 h 8185"/>
              <a:gd name="T8" fmla="*/ 4327 w 6754"/>
              <a:gd name="T9" fmla="*/ 8185 h 8185"/>
              <a:gd name="T10" fmla="*/ 5979 w 6754"/>
              <a:gd name="T11" fmla="*/ 7454 h 8185"/>
              <a:gd name="T12" fmla="*/ 6754 w 6754"/>
              <a:gd name="T13" fmla="*/ 1483 h 8185"/>
              <a:gd name="T14" fmla="*/ 6451 w 6754"/>
              <a:gd name="T15" fmla="*/ 929 h 8185"/>
              <a:gd name="T16" fmla="*/ 2203 w 6754"/>
              <a:gd name="T17" fmla="*/ 0 h 8185"/>
              <a:gd name="T18" fmla="*/ 1475 w 6754"/>
              <a:gd name="T19" fmla="*/ 139 h 81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754" h="8185">
                <a:moveTo>
                  <a:pt x="1475" y="139"/>
                </a:moveTo>
                <a:lnTo>
                  <a:pt x="1475" y="139"/>
                </a:lnTo>
                <a:lnTo>
                  <a:pt x="0" y="6169"/>
                </a:lnTo>
                <a:lnTo>
                  <a:pt x="570" y="7165"/>
                </a:lnTo>
                <a:lnTo>
                  <a:pt x="4327" y="8185"/>
                </a:lnTo>
                <a:lnTo>
                  <a:pt x="5979" y="7454"/>
                </a:lnTo>
                <a:lnTo>
                  <a:pt x="6754" y="1483"/>
                </a:lnTo>
                <a:lnTo>
                  <a:pt x="6451" y="929"/>
                </a:lnTo>
                <a:lnTo>
                  <a:pt x="2203" y="0"/>
                </a:lnTo>
                <a:lnTo>
                  <a:pt x="1475" y="13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5" name="Picture Placeholder 9">
            <a:extLst>
              <a:ext uri="{FF2B5EF4-FFF2-40B4-BE49-F238E27FC236}">
                <a16:creationId xmlns:a16="http://schemas.microsoft.com/office/drawing/2014/main" id="{FC540B1D-50B1-93E4-3EF4-C0945FD2A5C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002713" y="0"/>
            <a:ext cx="3189287" cy="4049713"/>
          </a:xfrm>
          <a:custGeom>
            <a:avLst/>
            <a:gdLst>
              <a:gd name="connsiteX0" fmla="*/ 660565 w 3191123"/>
              <a:gd name="connsiteY0" fmla="*/ 0 h 4049713"/>
              <a:gd name="connsiteX1" fmla="*/ 3191123 w 3191123"/>
              <a:gd name="connsiteY1" fmla="*/ 0 h 4049713"/>
              <a:gd name="connsiteX2" fmla="*/ 3191123 w 3191123"/>
              <a:gd name="connsiteY2" fmla="*/ 3995062 h 4049713"/>
              <a:gd name="connsiteX3" fmla="*/ 157529 w 3191123"/>
              <a:gd name="connsiteY3" fmla="*/ 4049713 h 4049713"/>
              <a:gd name="connsiteX4" fmla="*/ 0 w 3191123"/>
              <a:gd name="connsiteY4" fmla="*/ 3837761 h 4049713"/>
              <a:gd name="connsiteX5" fmla="*/ 0 w 3191123"/>
              <a:gd name="connsiteY5" fmla="*/ 2793837 h 4049713"/>
              <a:gd name="connsiteX6" fmla="*/ 365155 w 3191123"/>
              <a:gd name="connsiteY6" fmla="*/ 200476 h 4049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91123" h="4049713">
                <a:moveTo>
                  <a:pt x="660565" y="0"/>
                </a:moveTo>
                <a:lnTo>
                  <a:pt x="3191123" y="0"/>
                </a:lnTo>
                <a:lnTo>
                  <a:pt x="3191123" y="3995062"/>
                </a:lnTo>
                <a:lnTo>
                  <a:pt x="157529" y="4049713"/>
                </a:lnTo>
                <a:lnTo>
                  <a:pt x="0" y="3837761"/>
                </a:lnTo>
                <a:lnTo>
                  <a:pt x="0" y="2793837"/>
                </a:lnTo>
                <a:lnTo>
                  <a:pt x="365155" y="20047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z="1600">
                <a:solidFill>
                  <a:schemeClr val="bg1"/>
                </a:solidFill>
              </a:rPr>
              <a:t>Click icon to add picture</a:t>
            </a:r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29" name="Picture Placeholder 20">
            <a:extLst>
              <a:ext uri="{FF2B5EF4-FFF2-40B4-BE49-F238E27FC236}">
                <a16:creationId xmlns:a16="http://schemas.microsoft.com/office/drawing/2014/main" id="{86AF1817-6B99-E678-B7EC-18DEE3F6D09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9375" y="4170363"/>
            <a:ext cx="4983163" cy="2687637"/>
          </a:xfrm>
          <a:custGeom>
            <a:avLst/>
            <a:gdLst>
              <a:gd name="connsiteX0" fmla="*/ 344395 w 4973906"/>
              <a:gd name="connsiteY0" fmla="*/ 0 h 2687637"/>
              <a:gd name="connsiteX1" fmla="*/ 4563021 w 4973906"/>
              <a:gd name="connsiteY1" fmla="*/ 107526 h 2687637"/>
              <a:gd name="connsiteX2" fmla="*/ 4973906 w 4973906"/>
              <a:gd name="connsiteY2" fmla="*/ 533788 h 2687637"/>
              <a:gd name="connsiteX3" fmla="*/ 4570456 w 4973906"/>
              <a:gd name="connsiteY3" fmla="*/ 2687637 h 2687637"/>
              <a:gd name="connsiteX4" fmla="*/ 0 w 4973906"/>
              <a:gd name="connsiteY4" fmla="*/ 2687637 h 2687637"/>
              <a:gd name="connsiteX5" fmla="*/ 173122 w 4973906"/>
              <a:gd name="connsiteY5" fmla="*/ 252173 h 2687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73906" h="2687637">
                <a:moveTo>
                  <a:pt x="344395" y="0"/>
                </a:moveTo>
                <a:lnTo>
                  <a:pt x="4563021" y="107526"/>
                </a:lnTo>
                <a:lnTo>
                  <a:pt x="4973906" y="533788"/>
                </a:lnTo>
                <a:lnTo>
                  <a:pt x="4570456" y="2687637"/>
                </a:lnTo>
                <a:lnTo>
                  <a:pt x="0" y="2687637"/>
                </a:lnTo>
                <a:lnTo>
                  <a:pt x="173122" y="25217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algn="ctr" rtl="0"/>
            <a:r>
              <a:rPr lang="en-US" sz="1600">
                <a:solidFill>
                  <a:schemeClr val="bg1"/>
                </a:solidFill>
              </a:rPr>
              <a:t>Click icon to add picture</a:t>
            </a:r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2934A7-BB27-0705-778A-9BC1A80F58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389" y="180974"/>
            <a:ext cx="5916612" cy="75249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23D824-2B92-00E0-3B10-2E7351FAE03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0725" y="1260474"/>
            <a:ext cx="5041373" cy="4797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109A4F-CF52-ABB2-91FD-CF9C01BF0D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3A850B-CDC5-41D1-84BD-7FFA6B4B1506}" type="datetime1">
              <a:rPr lang="en-GB" smtClean="0"/>
              <a:t>06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C5B9B47-9D04-96FB-8B95-D7BC38470F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Prostate Cancer UK 2023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59D9458-0376-0EC1-BA89-A49552E192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53E11-492D-48B3-9F9B-09541CA2A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38235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D45B4F-B485-AE18-1694-1E31C1ED4D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A6383E5-49D4-9640-66B6-AC3BE48B3A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EC361-DC0B-4E14-A454-0DF92C97806E}" type="datetimeFigureOut">
              <a:rPr lang="en-GB" smtClean="0"/>
              <a:t>06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6468FE-F39C-6E15-F9D6-7AB857C6C2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9CCA0CB-01AB-645A-0095-B39431447F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6F894-DC0A-4B7D-B84B-FED84D17F05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818538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hree Images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reeform 9">
            <a:extLst>
              <a:ext uri="{FF2B5EF4-FFF2-40B4-BE49-F238E27FC236}">
                <a16:creationId xmlns:a16="http://schemas.microsoft.com/office/drawing/2014/main" id="{14F738DF-AF62-41B7-85B3-7F294A5C74A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auto">
          <a:xfrm>
            <a:off x="5935663" y="498475"/>
            <a:ext cx="2886075" cy="3494088"/>
          </a:xfrm>
          <a:custGeom>
            <a:avLst/>
            <a:gdLst>
              <a:gd name="T0" fmla="*/ 1475 w 6754"/>
              <a:gd name="T1" fmla="*/ 139 h 8185"/>
              <a:gd name="T2" fmla="*/ 1475 w 6754"/>
              <a:gd name="T3" fmla="*/ 139 h 8185"/>
              <a:gd name="T4" fmla="*/ 0 w 6754"/>
              <a:gd name="T5" fmla="*/ 6169 h 8185"/>
              <a:gd name="T6" fmla="*/ 570 w 6754"/>
              <a:gd name="T7" fmla="*/ 7165 h 8185"/>
              <a:gd name="T8" fmla="*/ 4327 w 6754"/>
              <a:gd name="T9" fmla="*/ 8185 h 8185"/>
              <a:gd name="T10" fmla="*/ 5979 w 6754"/>
              <a:gd name="T11" fmla="*/ 7454 h 8185"/>
              <a:gd name="T12" fmla="*/ 6754 w 6754"/>
              <a:gd name="T13" fmla="*/ 1483 h 8185"/>
              <a:gd name="T14" fmla="*/ 6451 w 6754"/>
              <a:gd name="T15" fmla="*/ 929 h 8185"/>
              <a:gd name="T16" fmla="*/ 2203 w 6754"/>
              <a:gd name="T17" fmla="*/ 0 h 8185"/>
              <a:gd name="T18" fmla="*/ 1475 w 6754"/>
              <a:gd name="T19" fmla="*/ 139 h 81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754" h="8185">
                <a:moveTo>
                  <a:pt x="1475" y="139"/>
                </a:moveTo>
                <a:lnTo>
                  <a:pt x="1475" y="139"/>
                </a:lnTo>
                <a:lnTo>
                  <a:pt x="0" y="6169"/>
                </a:lnTo>
                <a:lnTo>
                  <a:pt x="570" y="7165"/>
                </a:lnTo>
                <a:lnTo>
                  <a:pt x="4327" y="8185"/>
                </a:lnTo>
                <a:lnTo>
                  <a:pt x="5979" y="7454"/>
                </a:lnTo>
                <a:lnTo>
                  <a:pt x="6754" y="1483"/>
                </a:lnTo>
                <a:lnTo>
                  <a:pt x="6451" y="929"/>
                </a:lnTo>
                <a:lnTo>
                  <a:pt x="2203" y="0"/>
                </a:lnTo>
                <a:lnTo>
                  <a:pt x="1475" y="13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5" name="Picture Placeholder 9">
            <a:extLst>
              <a:ext uri="{FF2B5EF4-FFF2-40B4-BE49-F238E27FC236}">
                <a16:creationId xmlns:a16="http://schemas.microsoft.com/office/drawing/2014/main" id="{FC540B1D-50B1-93E4-3EF4-C0945FD2A5C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002713" y="0"/>
            <a:ext cx="3189287" cy="4049713"/>
          </a:xfrm>
          <a:custGeom>
            <a:avLst/>
            <a:gdLst>
              <a:gd name="connsiteX0" fmla="*/ 660565 w 3191123"/>
              <a:gd name="connsiteY0" fmla="*/ 0 h 4049713"/>
              <a:gd name="connsiteX1" fmla="*/ 3191123 w 3191123"/>
              <a:gd name="connsiteY1" fmla="*/ 0 h 4049713"/>
              <a:gd name="connsiteX2" fmla="*/ 3191123 w 3191123"/>
              <a:gd name="connsiteY2" fmla="*/ 3995062 h 4049713"/>
              <a:gd name="connsiteX3" fmla="*/ 157529 w 3191123"/>
              <a:gd name="connsiteY3" fmla="*/ 4049713 h 4049713"/>
              <a:gd name="connsiteX4" fmla="*/ 0 w 3191123"/>
              <a:gd name="connsiteY4" fmla="*/ 3837761 h 4049713"/>
              <a:gd name="connsiteX5" fmla="*/ 0 w 3191123"/>
              <a:gd name="connsiteY5" fmla="*/ 2793837 h 4049713"/>
              <a:gd name="connsiteX6" fmla="*/ 365155 w 3191123"/>
              <a:gd name="connsiteY6" fmla="*/ 200476 h 4049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91123" h="4049713">
                <a:moveTo>
                  <a:pt x="660565" y="0"/>
                </a:moveTo>
                <a:lnTo>
                  <a:pt x="3191123" y="0"/>
                </a:lnTo>
                <a:lnTo>
                  <a:pt x="3191123" y="3995062"/>
                </a:lnTo>
                <a:lnTo>
                  <a:pt x="157529" y="4049713"/>
                </a:lnTo>
                <a:lnTo>
                  <a:pt x="0" y="3837761"/>
                </a:lnTo>
                <a:lnTo>
                  <a:pt x="0" y="2793837"/>
                </a:lnTo>
                <a:lnTo>
                  <a:pt x="365155" y="20047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z="1600">
                <a:solidFill>
                  <a:schemeClr val="bg1"/>
                </a:solidFill>
              </a:rPr>
              <a:t>Click icon to add picture</a:t>
            </a:r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29" name="Picture Placeholder 20">
            <a:extLst>
              <a:ext uri="{FF2B5EF4-FFF2-40B4-BE49-F238E27FC236}">
                <a16:creationId xmlns:a16="http://schemas.microsoft.com/office/drawing/2014/main" id="{86AF1817-6B99-E678-B7EC-18DEE3F6D09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9375" y="4170363"/>
            <a:ext cx="4983163" cy="2687637"/>
          </a:xfrm>
          <a:custGeom>
            <a:avLst/>
            <a:gdLst>
              <a:gd name="connsiteX0" fmla="*/ 344395 w 4973906"/>
              <a:gd name="connsiteY0" fmla="*/ 0 h 2687637"/>
              <a:gd name="connsiteX1" fmla="*/ 4563021 w 4973906"/>
              <a:gd name="connsiteY1" fmla="*/ 107526 h 2687637"/>
              <a:gd name="connsiteX2" fmla="*/ 4973906 w 4973906"/>
              <a:gd name="connsiteY2" fmla="*/ 533788 h 2687637"/>
              <a:gd name="connsiteX3" fmla="*/ 4570456 w 4973906"/>
              <a:gd name="connsiteY3" fmla="*/ 2687637 h 2687637"/>
              <a:gd name="connsiteX4" fmla="*/ 0 w 4973906"/>
              <a:gd name="connsiteY4" fmla="*/ 2687637 h 2687637"/>
              <a:gd name="connsiteX5" fmla="*/ 173122 w 4973906"/>
              <a:gd name="connsiteY5" fmla="*/ 252173 h 2687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73906" h="2687637">
                <a:moveTo>
                  <a:pt x="344395" y="0"/>
                </a:moveTo>
                <a:lnTo>
                  <a:pt x="4563021" y="107526"/>
                </a:lnTo>
                <a:lnTo>
                  <a:pt x="4973906" y="533788"/>
                </a:lnTo>
                <a:lnTo>
                  <a:pt x="4570456" y="2687637"/>
                </a:lnTo>
                <a:lnTo>
                  <a:pt x="0" y="2687637"/>
                </a:lnTo>
                <a:lnTo>
                  <a:pt x="173122" y="25217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algn="ctr" rtl="0"/>
            <a:r>
              <a:rPr lang="en-US" sz="1600">
                <a:solidFill>
                  <a:schemeClr val="bg1"/>
                </a:solidFill>
              </a:rPr>
              <a:t>Click icon to add picture</a:t>
            </a:r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2934A7-BB27-0705-778A-9BC1A80F58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389" y="180974"/>
            <a:ext cx="5916612" cy="75249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23D824-2B92-00E0-3B10-2E7351FAE03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0725" y="1260474"/>
            <a:ext cx="5041373" cy="4797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109A4F-CF52-ABB2-91FD-CF9C01BF0D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3A850B-CDC5-41D1-84BD-7FFA6B4B1506}" type="datetime1">
              <a:rPr lang="en-GB" smtClean="0"/>
              <a:t>06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C5B9B47-9D04-96FB-8B95-D7BC38470F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Prostate Cancer UK 2023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59D9458-0376-0EC1-BA89-A49552E192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53E11-492D-48B3-9F9B-09541CA2A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945602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hree Images Gre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reeform 9">
            <a:extLst>
              <a:ext uri="{FF2B5EF4-FFF2-40B4-BE49-F238E27FC236}">
                <a16:creationId xmlns:a16="http://schemas.microsoft.com/office/drawing/2014/main" id="{14F738DF-AF62-41B7-85B3-7F294A5C74A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auto">
          <a:xfrm>
            <a:off x="5935663" y="498475"/>
            <a:ext cx="2886075" cy="3494088"/>
          </a:xfrm>
          <a:custGeom>
            <a:avLst/>
            <a:gdLst>
              <a:gd name="T0" fmla="*/ 1475 w 6754"/>
              <a:gd name="T1" fmla="*/ 139 h 8185"/>
              <a:gd name="T2" fmla="*/ 1475 w 6754"/>
              <a:gd name="T3" fmla="*/ 139 h 8185"/>
              <a:gd name="T4" fmla="*/ 0 w 6754"/>
              <a:gd name="T5" fmla="*/ 6169 h 8185"/>
              <a:gd name="T6" fmla="*/ 570 w 6754"/>
              <a:gd name="T7" fmla="*/ 7165 h 8185"/>
              <a:gd name="T8" fmla="*/ 4327 w 6754"/>
              <a:gd name="T9" fmla="*/ 8185 h 8185"/>
              <a:gd name="T10" fmla="*/ 5979 w 6754"/>
              <a:gd name="T11" fmla="*/ 7454 h 8185"/>
              <a:gd name="T12" fmla="*/ 6754 w 6754"/>
              <a:gd name="T13" fmla="*/ 1483 h 8185"/>
              <a:gd name="T14" fmla="*/ 6451 w 6754"/>
              <a:gd name="T15" fmla="*/ 929 h 8185"/>
              <a:gd name="T16" fmla="*/ 2203 w 6754"/>
              <a:gd name="T17" fmla="*/ 0 h 8185"/>
              <a:gd name="T18" fmla="*/ 1475 w 6754"/>
              <a:gd name="T19" fmla="*/ 139 h 81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754" h="8185">
                <a:moveTo>
                  <a:pt x="1475" y="139"/>
                </a:moveTo>
                <a:lnTo>
                  <a:pt x="1475" y="139"/>
                </a:lnTo>
                <a:lnTo>
                  <a:pt x="0" y="6169"/>
                </a:lnTo>
                <a:lnTo>
                  <a:pt x="570" y="7165"/>
                </a:lnTo>
                <a:lnTo>
                  <a:pt x="4327" y="8185"/>
                </a:lnTo>
                <a:lnTo>
                  <a:pt x="5979" y="7454"/>
                </a:lnTo>
                <a:lnTo>
                  <a:pt x="6754" y="1483"/>
                </a:lnTo>
                <a:lnTo>
                  <a:pt x="6451" y="929"/>
                </a:lnTo>
                <a:lnTo>
                  <a:pt x="2203" y="0"/>
                </a:lnTo>
                <a:lnTo>
                  <a:pt x="1475" y="13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5" name="Picture Placeholder 9">
            <a:extLst>
              <a:ext uri="{FF2B5EF4-FFF2-40B4-BE49-F238E27FC236}">
                <a16:creationId xmlns:a16="http://schemas.microsoft.com/office/drawing/2014/main" id="{FC540B1D-50B1-93E4-3EF4-C0945FD2A5C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002713" y="0"/>
            <a:ext cx="3189287" cy="4049713"/>
          </a:xfrm>
          <a:custGeom>
            <a:avLst/>
            <a:gdLst>
              <a:gd name="connsiteX0" fmla="*/ 660565 w 3191123"/>
              <a:gd name="connsiteY0" fmla="*/ 0 h 4049713"/>
              <a:gd name="connsiteX1" fmla="*/ 3191123 w 3191123"/>
              <a:gd name="connsiteY1" fmla="*/ 0 h 4049713"/>
              <a:gd name="connsiteX2" fmla="*/ 3191123 w 3191123"/>
              <a:gd name="connsiteY2" fmla="*/ 3995062 h 4049713"/>
              <a:gd name="connsiteX3" fmla="*/ 157529 w 3191123"/>
              <a:gd name="connsiteY3" fmla="*/ 4049713 h 4049713"/>
              <a:gd name="connsiteX4" fmla="*/ 0 w 3191123"/>
              <a:gd name="connsiteY4" fmla="*/ 3837761 h 4049713"/>
              <a:gd name="connsiteX5" fmla="*/ 0 w 3191123"/>
              <a:gd name="connsiteY5" fmla="*/ 2793837 h 4049713"/>
              <a:gd name="connsiteX6" fmla="*/ 365155 w 3191123"/>
              <a:gd name="connsiteY6" fmla="*/ 200476 h 4049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91123" h="4049713">
                <a:moveTo>
                  <a:pt x="660565" y="0"/>
                </a:moveTo>
                <a:lnTo>
                  <a:pt x="3191123" y="0"/>
                </a:lnTo>
                <a:lnTo>
                  <a:pt x="3191123" y="3995062"/>
                </a:lnTo>
                <a:lnTo>
                  <a:pt x="157529" y="4049713"/>
                </a:lnTo>
                <a:lnTo>
                  <a:pt x="0" y="3837761"/>
                </a:lnTo>
                <a:lnTo>
                  <a:pt x="0" y="2793837"/>
                </a:lnTo>
                <a:lnTo>
                  <a:pt x="365155" y="20047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z="1600">
                <a:solidFill>
                  <a:schemeClr val="bg1"/>
                </a:solidFill>
              </a:rPr>
              <a:t>Click icon to add picture</a:t>
            </a:r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29" name="Picture Placeholder 20">
            <a:extLst>
              <a:ext uri="{FF2B5EF4-FFF2-40B4-BE49-F238E27FC236}">
                <a16:creationId xmlns:a16="http://schemas.microsoft.com/office/drawing/2014/main" id="{86AF1817-6B99-E678-B7EC-18DEE3F6D09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9375" y="4170363"/>
            <a:ext cx="4983163" cy="2687637"/>
          </a:xfrm>
          <a:custGeom>
            <a:avLst/>
            <a:gdLst>
              <a:gd name="connsiteX0" fmla="*/ 344395 w 4973906"/>
              <a:gd name="connsiteY0" fmla="*/ 0 h 2687637"/>
              <a:gd name="connsiteX1" fmla="*/ 4563021 w 4973906"/>
              <a:gd name="connsiteY1" fmla="*/ 107526 h 2687637"/>
              <a:gd name="connsiteX2" fmla="*/ 4973906 w 4973906"/>
              <a:gd name="connsiteY2" fmla="*/ 533788 h 2687637"/>
              <a:gd name="connsiteX3" fmla="*/ 4570456 w 4973906"/>
              <a:gd name="connsiteY3" fmla="*/ 2687637 h 2687637"/>
              <a:gd name="connsiteX4" fmla="*/ 0 w 4973906"/>
              <a:gd name="connsiteY4" fmla="*/ 2687637 h 2687637"/>
              <a:gd name="connsiteX5" fmla="*/ 173122 w 4973906"/>
              <a:gd name="connsiteY5" fmla="*/ 252173 h 2687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73906" h="2687637">
                <a:moveTo>
                  <a:pt x="344395" y="0"/>
                </a:moveTo>
                <a:lnTo>
                  <a:pt x="4563021" y="107526"/>
                </a:lnTo>
                <a:lnTo>
                  <a:pt x="4973906" y="533788"/>
                </a:lnTo>
                <a:lnTo>
                  <a:pt x="4570456" y="2687637"/>
                </a:lnTo>
                <a:lnTo>
                  <a:pt x="0" y="2687637"/>
                </a:lnTo>
                <a:lnTo>
                  <a:pt x="173122" y="25217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algn="ctr" rtl="0"/>
            <a:r>
              <a:rPr lang="en-US" sz="1600">
                <a:solidFill>
                  <a:schemeClr val="bg1"/>
                </a:solidFill>
              </a:rPr>
              <a:t>Click icon to add picture</a:t>
            </a:r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2934A7-BB27-0705-778A-9BC1A80F58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389" y="180974"/>
            <a:ext cx="5916612" cy="75249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23D824-2B92-00E0-3B10-2E7351FAE03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0725" y="1260474"/>
            <a:ext cx="5041373" cy="4797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109A4F-CF52-ABB2-91FD-CF9C01BF0D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3A850B-CDC5-41D1-84BD-7FFA6B4B1506}" type="datetime1">
              <a:rPr lang="en-GB" smtClean="0"/>
              <a:t>06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C5B9B47-9D04-96FB-8B95-D7BC38470F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Prostate Cancer UK 2023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59D9458-0376-0EC1-BA89-A49552E192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53E11-492D-48B3-9F9B-09541CA2A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4144152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2934A7-BB27-0705-778A-9BC1A80F58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389" y="180974"/>
            <a:ext cx="5916612" cy="75249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23D824-2B92-00E0-3B10-2E7351FAE03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0725" y="1260474"/>
            <a:ext cx="5041373" cy="4797425"/>
          </a:xfrm>
        </p:spPr>
        <p:txBody>
          <a:bodyPr/>
          <a:lstStyle>
            <a:lvl3pPr>
              <a:spcAft>
                <a:spcPts val="100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109A4F-CF52-ABB2-91FD-CF9C01BF0D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840772-86A8-4669-9C91-BACC37A50F87}" type="datetime1">
              <a:rPr lang="en-GB" smtClean="0"/>
              <a:t>06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C5B9B47-9D04-96FB-8B95-D7BC38470F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Prostate Cancer UK 2023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59D9458-0376-0EC1-BA89-A49552E192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53E11-492D-48B3-9F9B-09541CA2A39A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101B4785-6F53-CE53-26B4-299FB0AD29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80138" y="0"/>
            <a:ext cx="6011862" cy="6858000"/>
          </a:xfrm>
          <a:custGeom>
            <a:avLst/>
            <a:gdLst>
              <a:gd name="connsiteX0" fmla="*/ 0 w 6011394"/>
              <a:gd name="connsiteY0" fmla="*/ 0 h 6858000"/>
              <a:gd name="connsiteX1" fmla="*/ 6011394 w 6011394"/>
              <a:gd name="connsiteY1" fmla="*/ 0 h 6858000"/>
              <a:gd name="connsiteX2" fmla="*/ 6011394 w 6011394"/>
              <a:gd name="connsiteY2" fmla="*/ 6858000 h 6858000"/>
              <a:gd name="connsiteX3" fmla="*/ 666065 w 6011394"/>
              <a:gd name="connsiteY3" fmla="*/ 6858000 h 6858000"/>
              <a:gd name="connsiteX4" fmla="*/ 747245 w 6011394"/>
              <a:gd name="connsiteY4" fmla="*/ 6364206 h 6858000"/>
              <a:gd name="connsiteX5" fmla="*/ 268127 w 6011394"/>
              <a:gd name="connsiteY5" fmla="*/ 24419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11394" h="6858000">
                <a:moveTo>
                  <a:pt x="0" y="0"/>
                </a:moveTo>
                <a:lnTo>
                  <a:pt x="6011394" y="0"/>
                </a:lnTo>
                <a:lnTo>
                  <a:pt x="6011394" y="6858000"/>
                </a:lnTo>
                <a:lnTo>
                  <a:pt x="666065" y="6858000"/>
                </a:lnTo>
                <a:lnTo>
                  <a:pt x="747245" y="6364206"/>
                </a:lnTo>
                <a:lnTo>
                  <a:pt x="268127" y="24419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z="1600">
                <a:solidFill>
                  <a:schemeClr val="bg1"/>
                </a:solidFill>
              </a:rPr>
              <a:t>Click icon to add picture</a:t>
            </a:r>
            <a:endParaRPr lang="en-GB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650357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Righ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2934A7-BB27-0705-778A-9BC1A80F58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389" y="180974"/>
            <a:ext cx="5916612" cy="75249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23D824-2B92-00E0-3B10-2E7351FAE03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0725" y="1260474"/>
            <a:ext cx="5041373" cy="4797425"/>
          </a:xfrm>
        </p:spPr>
        <p:txBody>
          <a:bodyPr/>
          <a:lstStyle>
            <a:lvl3pPr>
              <a:spcAft>
                <a:spcPts val="100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109A4F-CF52-ABB2-91FD-CF9C01BF0D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840772-86A8-4669-9C91-BACC37A50F87}" type="datetime1">
              <a:rPr lang="en-GB" smtClean="0"/>
              <a:t>06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C5B9B47-9D04-96FB-8B95-D7BC38470F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Prostate Cancer UK 2023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59D9458-0376-0EC1-BA89-A49552E192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53E11-492D-48B3-9F9B-09541CA2A39A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101B4785-6F53-CE53-26B4-299FB0AD29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80138" y="0"/>
            <a:ext cx="6011862" cy="6858000"/>
          </a:xfrm>
          <a:custGeom>
            <a:avLst/>
            <a:gdLst>
              <a:gd name="connsiteX0" fmla="*/ 0 w 6011394"/>
              <a:gd name="connsiteY0" fmla="*/ 0 h 6858000"/>
              <a:gd name="connsiteX1" fmla="*/ 6011394 w 6011394"/>
              <a:gd name="connsiteY1" fmla="*/ 0 h 6858000"/>
              <a:gd name="connsiteX2" fmla="*/ 6011394 w 6011394"/>
              <a:gd name="connsiteY2" fmla="*/ 6858000 h 6858000"/>
              <a:gd name="connsiteX3" fmla="*/ 666065 w 6011394"/>
              <a:gd name="connsiteY3" fmla="*/ 6858000 h 6858000"/>
              <a:gd name="connsiteX4" fmla="*/ 747245 w 6011394"/>
              <a:gd name="connsiteY4" fmla="*/ 6364206 h 6858000"/>
              <a:gd name="connsiteX5" fmla="*/ 268127 w 6011394"/>
              <a:gd name="connsiteY5" fmla="*/ 24419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11394" h="6858000">
                <a:moveTo>
                  <a:pt x="0" y="0"/>
                </a:moveTo>
                <a:lnTo>
                  <a:pt x="6011394" y="0"/>
                </a:lnTo>
                <a:lnTo>
                  <a:pt x="6011394" y="6858000"/>
                </a:lnTo>
                <a:lnTo>
                  <a:pt x="666065" y="6858000"/>
                </a:lnTo>
                <a:lnTo>
                  <a:pt x="747245" y="6364206"/>
                </a:lnTo>
                <a:lnTo>
                  <a:pt x="268127" y="24419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z="1600">
                <a:solidFill>
                  <a:schemeClr val="bg1"/>
                </a:solidFill>
              </a:rPr>
              <a:t>Click icon to add picture</a:t>
            </a:r>
            <a:endParaRPr lang="en-GB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449742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Right Pink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2934A7-BB27-0705-778A-9BC1A80F58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389" y="180974"/>
            <a:ext cx="5916612" cy="75249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23D824-2B92-00E0-3B10-2E7351FAE03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0725" y="1260474"/>
            <a:ext cx="5041373" cy="4797425"/>
          </a:xfrm>
        </p:spPr>
        <p:txBody>
          <a:bodyPr/>
          <a:lstStyle>
            <a:lvl3pPr>
              <a:spcAft>
                <a:spcPts val="100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109A4F-CF52-ABB2-91FD-CF9C01BF0D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840772-86A8-4669-9C91-BACC37A50F87}" type="datetime1">
              <a:rPr lang="en-GB" smtClean="0"/>
              <a:t>06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C5B9B47-9D04-96FB-8B95-D7BC38470F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Prostate Cancer UK 2023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59D9458-0376-0EC1-BA89-A49552E192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53E11-492D-48B3-9F9B-09541CA2A39A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101B4785-6F53-CE53-26B4-299FB0AD29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80138" y="0"/>
            <a:ext cx="6011862" cy="6858000"/>
          </a:xfrm>
          <a:custGeom>
            <a:avLst/>
            <a:gdLst>
              <a:gd name="connsiteX0" fmla="*/ 0 w 6011394"/>
              <a:gd name="connsiteY0" fmla="*/ 0 h 6858000"/>
              <a:gd name="connsiteX1" fmla="*/ 6011394 w 6011394"/>
              <a:gd name="connsiteY1" fmla="*/ 0 h 6858000"/>
              <a:gd name="connsiteX2" fmla="*/ 6011394 w 6011394"/>
              <a:gd name="connsiteY2" fmla="*/ 6858000 h 6858000"/>
              <a:gd name="connsiteX3" fmla="*/ 666065 w 6011394"/>
              <a:gd name="connsiteY3" fmla="*/ 6858000 h 6858000"/>
              <a:gd name="connsiteX4" fmla="*/ 747245 w 6011394"/>
              <a:gd name="connsiteY4" fmla="*/ 6364206 h 6858000"/>
              <a:gd name="connsiteX5" fmla="*/ 268127 w 6011394"/>
              <a:gd name="connsiteY5" fmla="*/ 24419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11394" h="6858000">
                <a:moveTo>
                  <a:pt x="0" y="0"/>
                </a:moveTo>
                <a:lnTo>
                  <a:pt x="6011394" y="0"/>
                </a:lnTo>
                <a:lnTo>
                  <a:pt x="6011394" y="6858000"/>
                </a:lnTo>
                <a:lnTo>
                  <a:pt x="666065" y="6858000"/>
                </a:lnTo>
                <a:lnTo>
                  <a:pt x="747245" y="6364206"/>
                </a:lnTo>
                <a:lnTo>
                  <a:pt x="268127" y="24419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z="1600">
                <a:solidFill>
                  <a:schemeClr val="bg1"/>
                </a:solidFill>
              </a:rPr>
              <a:t>Click icon to add picture</a:t>
            </a:r>
            <a:endParaRPr lang="en-GB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565252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Right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2934A7-BB27-0705-778A-9BC1A80F58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389" y="180974"/>
            <a:ext cx="5916612" cy="75249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23D824-2B92-00E0-3B10-2E7351FAE03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0725" y="1260474"/>
            <a:ext cx="5041373" cy="4797425"/>
          </a:xfrm>
        </p:spPr>
        <p:txBody>
          <a:bodyPr/>
          <a:lstStyle>
            <a:lvl3pPr>
              <a:spcAft>
                <a:spcPts val="100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109A4F-CF52-ABB2-91FD-CF9C01BF0D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840772-86A8-4669-9C91-BACC37A50F87}" type="datetime1">
              <a:rPr lang="en-GB" smtClean="0"/>
              <a:t>06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C5B9B47-9D04-96FB-8B95-D7BC38470F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Prostate Cancer UK 2023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59D9458-0376-0EC1-BA89-A49552E192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53E11-492D-48B3-9F9B-09541CA2A39A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101B4785-6F53-CE53-26B4-299FB0AD29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80138" y="0"/>
            <a:ext cx="6011862" cy="6858000"/>
          </a:xfrm>
          <a:custGeom>
            <a:avLst/>
            <a:gdLst>
              <a:gd name="connsiteX0" fmla="*/ 0 w 6011394"/>
              <a:gd name="connsiteY0" fmla="*/ 0 h 6858000"/>
              <a:gd name="connsiteX1" fmla="*/ 6011394 w 6011394"/>
              <a:gd name="connsiteY1" fmla="*/ 0 h 6858000"/>
              <a:gd name="connsiteX2" fmla="*/ 6011394 w 6011394"/>
              <a:gd name="connsiteY2" fmla="*/ 6858000 h 6858000"/>
              <a:gd name="connsiteX3" fmla="*/ 666065 w 6011394"/>
              <a:gd name="connsiteY3" fmla="*/ 6858000 h 6858000"/>
              <a:gd name="connsiteX4" fmla="*/ 747245 w 6011394"/>
              <a:gd name="connsiteY4" fmla="*/ 6364206 h 6858000"/>
              <a:gd name="connsiteX5" fmla="*/ 268127 w 6011394"/>
              <a:gd name="connsiteY5" fmla="*/ 24419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11394" h="6858000">
                <a:moveTo>
                  <a:pt x="0" y="0"/>
                </a:moveTo>
                <a:lnTo>
                  <a:pt x="6011394" y="0"/>
                </a:lnTo>
                <a:lnTo>
                  <a:pt x="6011394" y="6858000"/>
                </a:lnTo>
                <a:lnTo>
                  <a:pt x="666065" y="6858000"/>
                </a:lnTo>
                <a:lnTo>
                  <a:pt x="747245" y="6364206"/>
                </a:lnTo>
                <a:lnTo>
                  <a:pt x="268127" y="24419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z="1600">
                <a:solidFill>
                  <a:schemeClr val="bg1"/>
                </a:solidFill>
              </a:rPr>
              <a:t>Click icon to add picture</a:t>
            </a:r>
            <a:endParaRPr lang="en-GB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268681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Right Gre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2934A7-BB27-0705-778A-9BC1A80F58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389" y="180974"/>
            <a:ext cx="5916612" cy="75249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23D824-2B92-00E0-3B10-2E7351FAE03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0725" y="1260474"/>
            <a:ext cx="5041373" cy="4797425"/>
          </a:xfrm>
        </p:spPr>
        <p:txBody>
          <a:bodyPr/>
          <a:lstStyle>
            <a:lvl3pPr>
              <a:spcAft>
                <a:spcPts val="100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109A4F-CF52-ABB2-91FD-CF9C01BF0D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840772-86A8-4669-9C91-BACC37A50F87}" type="datetime1">
              <a:rPr lang="en-GB" smtClean="0"/>
              <a:t>06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C5B9B47-9D04-96FB-8B95-D7BC38470F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Prostate Cancer UK 2023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59D9458-0376-0EC1-BA89-A49552E192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53E11-492D-48B3-9F9B-09541CA2A39A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101B4785-6F53-CE53-26B4-299FB0AD29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80138" y="0"/>
            <a:ext cx="6011862" cy="6858000"/>
          </a:xfrm>
          <a:custGeom>
            <a:avLst/>
            <a:gdLst>
              <a:gd name="connsiteX0" fmla="*/ 0 w 6011394"/>
              <a:gd name="connsiteY0" fmla="*/ 0 h 6858000"/>
              <a:gd name="connsiteX1" fmla="*/ 6011394 w 6011394"/>
              <a:gd name="connsiteY1" fmla="*/ 0 h 6858000"/>
              <a:gd name="connsiteX2" fmla="*/ 6011394 w 6011394"/>
              <a:gd name="connsiteY2" fmla="*/ 6858000 h 6858000"/>
              <a:gd name="connsiteX3" fmla="*/ 666065 w 6011394"/>
              <a:gd name="connsiteY3" fmla="*/ 6858000 h 6858000"/>
              <a:gd name="connsiteX4" fmla="*/ 747245 w 6011394"/>
              <a:gd name="connsiteY4" fmla="*/ 6364206 h 6858000"/>
              <a:gd name="connsiteX5" fmla="*/ 268127 w 6011394"/>
              <a:gd name="connsiteY5" fmla="*/ 24419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11394" h="6858000">
                <a:moveTo>
                  <a:pt x="0" y="0"/>
                </a:moveTo>
                <a:lnTo>
                  <a:pt x="6011394" y="0"/>
                </a:lnTo>
                <a:lnTo>
                  <a:pt x="6011394" y="6858000"/>
                </a:lnTo>
                <a:lnTo>
                  <a:pt x="666065" y="6858000"/>
                </a:lnTo>
                <a:lnTo>
                  <a:pt x="747245" y="6364206"/>
                </a:lnTo>
                <a:lnTo>
                  <a:pt x="268127" y="24419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z="1600">
                <a:solidFill>
                  <a:schemeClr val="bg1"/>
                </a:solidFill>
              </a:rPr>
              <a:t>Click icon to add picture</a:t>
            </a:r>
            <a:endParaRPr lang="en-GB" sz="1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769051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7">
            <a:extLst>
              <a:ext uri="{FF2B5EF4-FFF2-40B4-BE49-F238E27FC236}">
                <a16:creationId xmlns:a16="http://schemas.microsoft.com/office/drawing/2014/main" id="{70A4ED67-ACD3-6FED-9F13-3BE14750F7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191250" cy="6858000"/>
          </a:xfrm>
          <a:custGeom>
            <a:avLst/>
            <a:gdLst>
              <a:gd name="connsiteX0" fmla="*/ 0 w 6192386"/>
              <a:gd name="connsiteY0" fmla="*/ 0 h 6858000"/>
              <a:gd name="connsiteX1" fmla="*/ 6192386 w 6192386"/>
              <a:gd name="connsiteY1" fmla="*/ 0 h 6858000"/>
              <a:gd name="connsiteX2" fmla="*/ 5738813 w 6192386"/>
              <a:gd name="connsiteY2" fmla="*/ 332255 h 6858000"/>
              <a:gd name="connsiteX3" fmla="*/ 5742655 w 6192386"/>
              <a:gd name="connsiteY3" fmla="*/ 6356173 h 6858000"/>
              <a:gd name="connsiteX4" fmla="*/ 6115109 w 6192386"/>
              <a:gd name="connsiteY4" fmla="*/ 6858000 h 6858000"/>
              <a:gd name="connsiteX5" fmla="*/ 0 w 6192386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2386" h="6858000">
                <a:moveTo>
                  <a:pt x="0" y="0"/>
                </a:moveTo>
                <a:lnTo>
                  <a:pt x="6192386" y="0"/>
                </a:lnTo>
                <a:lnTo>
                  <a:pt x="5738813" y="332255"/>
                </a:lnTo>
                <a:lnTo>
                  <a:pt x="5742655" y="6356173"/>
                </a:lnTo>
                <a:lnTo>
                  <a:pt x="611510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z="1600">
                <a:solidFill>
                  <a:schemeClr val="bg1"/>
                </a:solidFill>
              </a:rPr>
              <a:t>Click icon to add picture</a:t>
            </a:r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2934A7-BB27-0705-778A-9BC1A80F58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28316" y="180974"/>
            <a:ext cx="5041373" cy="75249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316325E-A8D8-4356-8054-A314C1AF0A0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29904" y="1260473"/>
            <a:ext cx="5041373" cy="4797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109A4F-CF52-ABB2-91FD-CF9C01BF0D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B3F16-B26C-4A16-8B5E-83FF6BCC0EE6}" type="datetime1">
              <a:rPr lang="en-GB" smtClean="0"/>
              <a:t>06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C5B9B47-9D04-96FB-8B95-D7BC38470F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Prostate Cancer UK 2023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59D9458-0376-0EC1-BA89-A49552E192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53E11-492D-48B3-9F9B-09541CA2A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9035718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Lef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7">
            <a:extLst>
              <a:ext uri="{FF2B5EF4-FFF2-40B4-BE49-F238E27FC236}">
                <a16:creationId xmlns:a16="http://schemas.microsoft.com/office/drawing/2014/main" id="{70A4ED67-ACD3-6FED-9F13-3BE14750F7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191250" cy="6858000"/>
          </a:xfrm>
          <a:custGeom>
            <a:avLst/>
            <a:gdLst>
              <a:gd name="connsiteX0" fmla="*/ 0 w 6192386"/>
              <a:gd name="connsiteY0" fmla="*/ 0 h 6858000"/>
              <a:gd name="connsiteX1" fmla="*/ 6192386 w 6192386"/>
              <a:gd name="connsiteY1" fmla="*/ 0 h 6858000"/>
              <a:gd name="connsiteX2" fmla="*/ 5738813 w 6192386"/>
              <a:gd name="connsiteY2" fmla="*/ 332255 h 6858000"/>
              <a:gd name="connsiteX3" fmla="*/ 5742655 w 6192386"/>
              <a:gd name="connsiteY3" fmla="*/ 6356173 h 6858000"/>
              <a:gd name="connsiteX4" fmla="*/ 6115109 w 6192386"/>
              <a:gd name="connsiteY4" fmla="*/ 6858000 h 6858000"/>
              <a:gd name="connsiteX5" fmla="*/ 0 w 6192386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2386" h="6858000">
                <a:moveTo>
                  <a:pt x="0" y="0"/>
                </a:moveTo>
                <a:lnTo>
                  <a:pt x="6192386" y="0"/>
                </a:lnTo>
                <a:lnTo>
                  <a:pt x="5738813" y="332255"/>
                </a:lnTo>
                <a:lnTo>
                  <a:pt x="5742655" y="6356173"/>
                </a:lnTo>
                <a:lnTo>
                  <a:pt x="611510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z="1600">
                <a:solidFill>
                  <a:schemeClr val="bg1"/>
                </a:solidFill>
              </a:rPr>
              <a:t>Click icon to add picture</a:t>
            </a:r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2934A7-BB27-0705-778A-9BC1A80F58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28316" y="180974"/>
            <a:ext cx="5041373" cy="75249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316325E-A8D8-4356-8054-A314C1AF0A0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29904" y="1260473"/>
            <a:ext cx="5041373" cy="4797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109A4F-CF52-ABB2-91FD-CF9C01BF0D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B3F16-B26C-4A16-8B5E-83FF6BCC0EE6}" type="datetime1">
              <a:rPr lang="en-GB" smtClean="0"/>
              <a:t>06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C5B9B47-9D04-96FB-8B95-D7BC38470F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Prostate Cancer UK 2023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59D9458-0376-0EC1-BA89-A49552E192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53E11-492D-48B3-9F9B-09541CA2A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916438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Left Pink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7">
            <a:extLst>
              <a:ext uri="{FF2B5EF4-FFF2-40B4-BE49-F238E27FC236}">
                <a16:creationId xmlns:a16="http://schemas.microsoft.com/office/drawing/2014/main" id="{70A4ED67-ACD3-6FED-9F13-3BE14750F7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191250" cy="6858000"/>
          </a:xfrm>
          <a:custGeom>
            <a:avLst/>
            <a:gdLst>
              <a:gd name="connsiteX0" fmla="*/ 0 w 6192386"/>
              <a:gd name="connsiteY0" fmla="*/ 0 h 6858000"/>
              <a:gd name="connsiteX1" fmla="*/ 6192386 w 6192386"/>
              <a:gd name="connsiteY1" fmla="*/ 0 h 6858000"/>
              <a:gd name="connsiteX2" fmla="*/ 5738813 w 6192386"/>
              <a:gd name="connsiteY2" fmla="*/ 332255 h 6858000"/>
              <a:gd name="connsiteX3" fmla="*/ 5742655 w 6192386"/>
              <a:gd name="connsiteY3" fmla="*/ 6356173 h 6858000"/>
              <a:gd name="connsiteX4" fmla="*/ 6115109 w 6192386"/>
              <a:gd name="connsiteY4" fmla="*/ 6858000 h 6858000"/>
              <a:gd name="connsiteX5" fmla="*/ 0 w 6192386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2386" h="6858000">
                <a:moveTo>
                  <a:pt x="0" y="0"/>
                </a:moveTo>
                <a:lnTo>
                  <a:pt x="6192386" y="0"/>
                </a:lnTo>
                <a:lnTo>
                  <a:pt x="5738813" y="332255"/>
                </a:lnTo>
                <a:lnTo>
                  <a:pt x="5742655" y="6356173"/>
                </a:lnTo>
                <a:lnTo>
                  <a:pt x="611510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z="1600">
                <a:solidFill>
                  <a:schemeClr val="bg1"/>
                </a:solidFill>
              </a:rPr>
              <a:t>Click icon to add picture</a:t>
            </a:r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2934A7-BB27-0705-778A-9BC1A80F58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28316" y="180974"/>
            <a:ext cx="5041373" cy="75249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316325E-A8D8-4356-8054-A314C1AF0A0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29904" y="1260473"/>
            <a:ext cx="5041373" cy="4797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109A4F-CF52-ABB2-91FD-CF9C01BF0D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B3F16-B26C-4A16-8B5E-83FF6BCC0EE6}" type="datetime1">
              <a:rPr lang="en-GB" smtClean="0"/>
              <a:t>06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C5B9B47-9D04-96FB-8B95-D7BC38470F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Prostate Cancer UK 2023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59D9458-0376-0EC1-BA89-A49552E192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53E11-492D-48B3-9F9B-09541CA2A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26267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2CED61C-D0FE-A034-003C-E04FA01BD0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EC361-DC0B-4E14-A454-0DF92C97806E}" type="datetimeFigureOut">
              <a:rPr lang="en-GB" smtClean="0"/>
              <a:t>06/06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35ECE55-99EB-CFA9-AB1D-0F92FD336D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1E7435-4475-D2B8-C3A1-F97BEC2E00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6F894-DC0A-4B7D-B84B-FED84D17F05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525997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Left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7">
            <a:extLst>
              <a:ext uri="{FF2B5EF4-FFF2-40B4-BE49-F238E27FC236}">
                <a16:creationId xmlns:a16="http://schemas.microsoft.com/office/drawing/2014/main" id="{70A4ED67-ACD3-6FED-9F13-3BE14750F7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191250" cy="6858000"/>
          </a:xfrm>
          <a:custGeom>
            <a:avLst/>
            <a:gdLst>
              <a:gd name="connsiteX0" fmla="*/ 0 w 6192386"/>
              <a:gd name="connsiteY0" fmla="*/ 0 h 6858000"/>
              <a:gd name="connsiteX1" fmla="*/ 6192386 w 6192386"/>
              <a:gd name="connsiteY1" fmla="*/ 0 h 6858000"/>
              <a:gd name="connsiteX2" fmla="*/ 5738813 w 6192386"/>
              <a:gd name="connsiteY2" fmla="*/ 332255 h 6858000"/>
              <a:gd name="connsiteX3" fmla="*/ 5742655 w 6192386"/>
              <a:gd name="connsiteY3" fmla="*/ 6356173 h 6858000"/>
              <a:gd name="connsiteX4" fmla="*/ 6115109 w 6192386"/>
              <a:gd name="connsiteY4" fmla="*/ 6858000 h 6858000"/>
              <a:gd name="connsiteX5" fmla="*/ 0 w 6192386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2386" h="6858000">
                <a:moveTo>
                  <a:pt x="0" y="0"/>
                </a:moveTo>
                <a:lnTo>
                  <a:pt x="6192386" y="0"/>
                </a:lnTo>
                <a:lnTo>
                  <a:pt x="5738813" y="332255"/>
                </a:lnTo>
                <a:lnTo>
                  <a:pt x="5742655" y="6356173"/>
                </a:lnTo>
                <a:lnTo>
                  <a:pt x="611510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z="1600">
                <a:solidFill>
                  <a:schemeClr val="bg1"/>
                </a:solidFill>
              </a:rPr>
              <a:t>Click icon to add picture</a:t>
            </a:r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2934A7-BB27-0705-778A-9BC1A80F58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28316" y="180974"/>
            <a:ext cx="5041373" cy="75249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316325E-A8D8-4356-8054-A314C1AF0A0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29904" y="1260473"/>
            <a:ext cx="5041373" cy="4797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109A4F-CF52-ABB2-91FD-CF9C01BF0D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B3F16-B26C-4A16-8B5E-83FF6BCC0EE6}" type="datetime1">
              <a:rPr lang="en-GB" smtClean="0"/>
              <a:t>06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C5B9B47-9D04-96FB-8B95-D7BC38470F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Prostate Cancer UK 2023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59D9458-0376-0EC1-BA89-A49552E192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53E11-492D-48B3-9F9B-09541CA2A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444838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Left Gre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7">
            <a:extLst>
              <a:ext uri="{FF2B5EF4-FFF2-40B4-BE49-F238E27FC236}">
                <a16:creationId xmlns:a16="http://schemas.microsoft.com/office/drawing/2014/main" id="{70A4ED67-ACD3-6FED-9F13-3BE14750F7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191250" cy="6858000"/>
          </a:xfrm>
          <a:custGeom>
            <a:avLst/>
            <a:gdLst>
              <a:gd name="connsiteX0" fmla="*/ 0 w 6192386"/>
              <a:gd name="connsiteY0" fmla="*/ 0 h 6858000"/>
              <a:gd name="connsiteX1" fmla="*/ 6192386 w 6192386"/>
              <a:gd name="connsiteY1" fmla="*/ 0 h 6858000"/>
              <a:gd name="connsiteX2" fmla="*/ 5738813 w 6192386"/>
              <a:gd name="connsiteY2" fmla="*/ 332255 h 6858000"/>
              <a:gd name="connsiteX3" fmla="*/ 5742655 w 6192386"/>
              <a:gd name="connsiteY3" fmla="*/ 6356173 h 6858000"/>
              <a:gd name="connsiteX4" fmla="*/ 6115109 w 6192386"/>
              <a:gd name="connsiteY4" fmla="*/ 6858000 h 6858000"/>
              <a:gd name="connsiteX5" fmla="*/ 0 w 6192386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2386" h="6858000">
                <a:moveTo>
                  <a:pt x="0" y="0"/>
                </a:moveTo>
                <a:lnTo>
                  <a:pt x="6192386" y="0"/>
                </a:lnTo>
                <a:lnTo>
                  <a:pt x="5738813" y="332255"/>
                </a:lnTo>
                <a:lnTo>
                  <a:pt x="5742655" y="6356173"/>
                </a:lnTo>
                <a:lnTo>
                  <a:pt x="611510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sz="1600">
                <a:solidFill>
                  <a:schemeClr val="bg1"/>
                </a:solidFill>
              </a:rPr>
              <a:t>Click icon to add picture</a:t>
            </a:r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2934A7-BB27-0705-778A-9BC1A80F58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28316" y="180974"/>
            <a:ext cx="5041373" cy="75249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316325E-A8D8-4356-8054-A314C1AF0A0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29904" y="1260473"/>
            <a:ext cx="5041373" cy="47974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109A4F-CF52-ABB2-91FD-CF9C01BF0D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B3F16-B26C-4A16-8B5E-83FF6BCC0EE6}" type="datetime1">
              <a:rPr lang="en-GB" smtClean="0"/>
              <a:t>06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C5B9B47-9D04-96FB-8B95-D7BC38470F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Prostate Cancer UK 2023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59D9458-0376-0EC1-BA89-A49552E192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53E11-492D-48B3-9F9B-09541CA2A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206431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and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7EE1FA-D65D-2C70-C1D9-6B3FA0994E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5053E6-46A7-3B67-D7A4-8707C1FD61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E3A9DC-E057-40D4-BD1A-6C5C59F4150F}" type="datetime1">
              <a:rPr lang="en-GB" smtClean="0"/>
              <a:t>06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D8704A2-2105-D099-6D4B-55DE9EA114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Prostate Cancer UK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D49F892-DC5B-8858-9FE8-51282FFF86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53E11-492D-48B3-9F9B-09541CA2A39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BF9A17C-89EF-191A-3BAC-53655D5334C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20724" y="1260474"/>
            <a:ext cx="2304000" cy="3060000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2F00ABA-334F-0CC2-5DCA-E87843759BC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20725" y="4428000"/>
            <a:ext cx="2303463" cy="164465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4BED69B3-87BF-4A6C-F291-B300FEDFD61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535712" y="1260475"/>
            <a:ext cx="2304000" cy="3060000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E96AE25E-E1FB-2280-00CB-5C49E6BABC7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535713" y="4428001"/>
            <a:ext cx="2303463" cy="164465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43511A7E-7FA6-1A27-3801-8363E0A6DE5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50700" y="1260476"/>
            <a:ext cx="2304000" cy="3060000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9509177D-2A61-76CF-44D0-89D0B5A79F9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50701" y="4428002"/>
            <a:ext cx="2303463" cy="164465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2D0C7BC7-58CD-0996-2F5E-D799A7B3525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65687" y="1260477"/>
            <a:ext cx="2304000" cy="3060000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75347929-917D-BE6F-1422-0443036C6A6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165688" y="4428003"/>
            <a:ext cx="2303463" cy="164465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875023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and Captions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7EE1FA-D65D-2C70-C1D9-6B3FA0994E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5053E6-46A7-3B67-D7A4-8707C1FD61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E3A9DC-E057-40D4-BD1A-6C5C59F4150F}" type="datetime1">
              <a:rPr lang="en-GB" smtClean="0"/>
              <a:t>06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D8704A2-2105-D099-6D4B-55DE9EA114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Prostate Cancer UK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D49F892-DC5B-8858-9FE8-51282FFF86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53E11-492D-48B3-9F9B-09541CA2A39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BF9A17C-89EF-191A-3BAC-53655D5334C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20724" y="1260474"/>
            <a:ext cx="2304000" cy="3060000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2F00ABA-334F-0CC2-5DCA-E87843759BC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20725" y="4428000"/>
            <a:ext cx="2303463" cy="164465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4BED69B3-87BF-4A6C-F291-B300FEDFD61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535712" y="1260475"/>
            <a:ext cx="2304000" cy="3060000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E96AE25E-E1FB-2280-00CB-5C49E6BABC7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535713" y="4428001"/>
            <a:ext cx="2303463" cy="164465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43511A7E-7FA6-1A27-3801-8363E0A6DE5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50700" y="1260476"/>
            <a:ext cx="2304000" cy="3060000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9509177D-2A61-76CF-44D0-89D0B5A79F9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50701" y="4428002"/>
            <a:ext cx="2303463" cy="164465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2D0C7BC7-58CD-0996-2F5E-D799A7B3525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65687" y="1260477"/>
            <a:ext cx="2304000" cy="3060000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75347929-917D-BE6F-1422-0443036C6A6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165688" y="4428003"/>
            <a:ext cx="2303463" cy="164465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92767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and Captions Pink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7EE1FA-D65D-2C70-C1D9-6B3FA0994E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5053E6-46A7-3B67-D7A4-8707C1FD61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E3A9DC-E057-40D4-BD1A-6C5C59F4150F}" type="datetime1">
              <a:rPr lang="en-GB" smtClean="0"/>
              <a:t>06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D8704A2-2105-D099-6D4B-55DE9EA114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Prostate Cancer UK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D49F892-DC5B-8858-9FE8-51282FFF86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53E11-492D-48B3-9F9B-09541CA2A39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BF9A17C-89EF-191A-3BAC-53655D5334C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20724" y="1260474"/>
            <a:ext cx="2304000" cy="3060000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2F00ABA-334F-0CC2-5DCA-E87843759BC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20725" y="4428000"/>
            <a:ext cx="2303463" cy="164465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4BED69B3-87BF-4A6C-F291-B300FEDFD61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535712" y="1260475"/>
            <a:ext cx="2304000" cy="3060000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E96AE25E-E1FB-2280-00CB-5C49E6BABC7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535713" y="4428001"/>
            <a:ext cx="2303463" cy="164465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43511A7E-7FA6-1A27-3801-8363E0A6DE5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50700" y="1260476"/>
            <a:ext cx="2304000" cy="3060000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9509177D-2A61-76CF-44D0-89D0B5A79F9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50701" y="4428002"/>
            <a:ext cx="2303463" cy="164465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2D0C7BC7-58CD-0996-2F5E-D799A7B3525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65687" y="1260477"/>
            <a:ext cx="2304000" cy="3060000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75347929-917D-BE6F-1422-0443036C6A6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165688" y="4428003"/>
            <a:ext cx="2303463" cy="164465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966367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and Captions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7EE1FA-D65D-2C70-C1D9-6B3FA0994E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5053E6-46A7-3B67-D7A4-8707C1FD61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E3A9DC-E057-40D4-BD1A-6C5C59F4150F}" type="datetime1">
              <a:rPr lang="en-GB" smtClean="0"/>
              <a:t>06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D8704A2-2105-D099-6D4B-55DE9EA114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Prostate Cancer UK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D49F892-DC5B-8858-9FE8-51282FFF86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53E11-492D-48B3-9F9B-09541CA2A39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BF9A17C-89EF-191A-3BAC-53655D5334C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20724" y="1260474"/>
            <a:ext cx="2304000" cy="3060000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2F00ABA-334F-0CC2-5DCA-E87843759BC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20725" y="4428000"/>
            <a:ext cx="2303463" cy="164465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4BED69B3-87BF-4A6C-F291-B300FEDFD61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535712" y="1260475"/>
            <a:ext cx="2304000" cy="3060000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E96AE25E-E1FB-2280-00CB-5C49E6BABC7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535713" y="4428001"/>
            <a:ext cx="2303463" cy="164465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43511A7E-7FA6-1A27-3801-8363E0A6DE5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50700" y="1260476"/>
            <a:ext cx="2304000" cy="3060000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9509177D-2A61-76CF-44D0-89D0B5A79F9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50701" y="4428002"/>
            <a:ext cx="2303463" cy="164465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2D0C7BC7-58CD-0996-2F5E-D799A7B3525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65687" y="1260477"/>
            <a:ext cx="2304000" cy="3060000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75347929-917D-BE6F-1422-0443036C6A6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165688" y="4428003"/>
            <a:ext cx="2303463" cy="164465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929680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and Captions Gre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7EE1FA-D65D-2C70-C1D9-6B3FA0994E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5053E6-46A7-3B67-D7A4-8707C1FD61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E3A9DC-E057-40D4-BD1A-6C5C59F4150F}" type="datetime1">
              <a:rPr lang="en-GB" smtClean="0"/>
              <a:t>06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D8704A2-2105-D099-6D4B-55DE9EA114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Prostate Cancer UK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D49F892-DC5B-8858-9FE8-51282FFF86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53E11-492D-48B3-9F9B-09541CA2A39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BF9A17C-89EF-191A-3BAC-53655D5334C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20724" y="1260474"/>
            <a:ext cx="2304000" cy="3060000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2F00ABA-334F-0CC2-5DCA-E87843759BC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20725" y="4428000"/>
            <a:ext cx="2303463" cy="164465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4BED69B3-87BF-4A6C-F291-B300FEDFD61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535712" y="1260475"/>
            <a:ext cx="2304000" cy="3060000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E96AE25E-E1FB-2280-00CB-5C49E6BABC7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535713" y="4428001"/>
            <a:ext cx="2303463" cy="164465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43511A7E-7FA6-1A27-3801-8363E0A6DE5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50700" y="1260476"/>
            <a:ext cx="2304000" cy="3060000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9509177D-2A61-76CF-44D0-89D0B5A79F9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50701" y="4428002"/>
            <a:ext cx="2303463" cy="164465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2D0C7BC7-58CD-0996-2F5E-D799A7B3525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65687" y="1260477"/>
            <a:ext cx="2304000" cy="3060000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75347929-917D-BE6F-1422-0443036C6A6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165688" y="4428003"/>
            <a:ext cx="2303463" cy="164465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306189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F36668-9440-2FC4-1A20-CEA2160E17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AA156BD-F388-30EA-2720-04061953B8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03100D-D724-4F22-8076-14CB80B155E0}" type="datetime1">
              <a:rPr lang="en-GB" smtClean="0"/>
              <a:t>06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3FDBFEE-0509-16B7-5DAE-5E0DB02DD7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Prostate Cancer UK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EAB126A-2C1E-4241-BBEB-C3AA6FE622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53E11-492D-48B3-9F9B-09541CA2A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9408595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F36668-9440-2FC4-1A20-CEA2160E17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AA156BD-F388-30EA-2720-04061953B8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03100D-D724-4F22-8076-14CB80B155E0}" type="datetime1">
              <a:rPr lang="en-GB" smtClean="0"/>
              <a:t>06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3FDBFEE-0509-16B7-5DAE-5E0DB02DD7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Prostate Cancer UK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EAB126A-2C1E-4241-BBEB-C3AA6FE622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53E11-492D-48B3-9F9B-09541CA2A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169692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Pink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F36668-9440-2FC4-1A20-CEA2160E17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AA156BD-F388-30EA-2720-04061953B8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03100D-D724-4F22-8076-14CB80B155E0}" type="datetime1">
              <a:rPr lang="en-GB" smtClean="0"/>
              <a:t>06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3FDBFEE-0509-16B7-5DAE-5E0DB02DD7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Prostate Cancer UK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EAB126A-2C1E-4241-BBEB-C3AA6FE622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53E11-492D-48B3-9F9B-09541CA2A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75027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814E58-947C-0542-1B4F-9190DAA264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46161A-B656-43CB-5025-041A4B3236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ED7CFAE-0EDA-651C-B298-A16BD6BFBBA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FB0CB59-EFB6-CC76-D00B-267D9F0B55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EC361-DC0B-4E14-A454-0DF92C97806E}" type="datetimeFigureOut">
              <a:rPr lang="en-GB" smtClean="0"/>
              <a:t>06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E103F44-B1C7-7A2D-F9F2-31215657FC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18E7228-4FDF-9B3C-B622-05B573BF98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6F894-DC0A-4B7D-B84B-FED84D17F05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354070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F36668-9440-2FC4-1A20-CEA2160E17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AA156BD-F388-30EA-2720-04061953B8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03100D-D724-4F22-8076-14CB80B155E0}" type="datetime1">
              <a:rPr lang="en-GB" smtClean="0"/>
              <a:t>06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3FDBFEE-0509-16B7-5DAE-5E0DB02DD7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Prostate Cancer UK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EAB126A-2C1E-4241-BBEB-C3AA6FE622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53E11-492D-48B3-9F9B-09541CA2A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053880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Gre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F36668-9440-2FC4-1A20-CEA2160E17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AA156BD-F388-30EA-2720-04061953B8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03100D-D724-4F22-8076-14CB80B155E0}" type="datetime1">
              <a:rPr lang="en-GB" smtClean="0"/>
              <a:t>06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3FDBFEE-0509-16B7-5DAE-5E0DB02DD7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Prostate Cancer UK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EAB126A-2C1E-4241-BBEB-C3AA6FE622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53E11-492D-48B3-9F9B-09541CA2A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21468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0B01DE9-7247-71C2-3301-8F43BD9470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C9C238-1106-4B16-8CAC-4FD026BBA482}" type="datetime1">
              <a:rPr lang="en-GB" smtClean="0"/>
              <a:t>06/06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F1F649-B08E-D628-15EF-6CAEE9855C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Prostate Cancer UK 202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0EDFB5-B3BA-ADA8-4600-FCDAFA1A85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53E11-492D-48B3-9F9B-09541CA2A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472260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0B01DE9-7247-71C2-3301-8F43BD9470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C9C238-1106-4B16-8CAC-4FD026BBA482}" type="datetime1">
              <a:rPr lang="en-GB" smtClean="0"/>
              <a:t>06/06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F1F649-B08E-D628-15EF-6CAEE9855C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Prostate Cancer UK 202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0EDFB5-B3BA-ADA8-4600-FCDAFA1A85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53E11-492D-48B3-9F9B-09541CA2A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700364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Pink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0B01DE9-7247-71C2-3301-8F43BD9470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C9C238-1106-4B16-8CAC-4FD026BBA482}" type="datetime1">
              <a:rPr lang="en-GB" smtClean="0"/>
              <a:t>06/06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F1F649-B08E-D628-15EF-6CAEE9855C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Prostate Cancer UK 202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0EDFB5-B3BA-ADA8-4600-FCDAFA1A85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53E11-492D-48B3-9F9B-09541CA2A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120588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0B01DE9-7247-71C2-3301-8F43BD9470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C9C238-1106-4B16-8CAC-4FD026BBA482}" type="datetime1">
              <a:rPr lang="en-GB" smtClean="0"/>
              <a:t>06/06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F1F649-B08E-D628-15EF-6CAEE9855C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Prostate Cancer UK 202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0EDFB5-B3BA-ADA8-4600-FCDAFA1A85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53E11-492D-48B3-9F9B-09541CA2A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019263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Gre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0B01DE9-7247-71C2-3301-8F43BD9470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C9C238-1106-4B16-8CAC-4FD026BBA482}" type="datetime1">
              <a:rPr lang="en-GB" smtClean="0"/>
              <a:t>06/06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F1F649-B08E-D628-15EF-6CAEE9855C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Prostate Cancer UK 202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0EDFB5-B3BA-ADA8-4600-FCDAFA1A85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A53E11-492D-48B3-9F9B-09541CA2A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629027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967541" y="1340768"/>
            <a:ext cx="8735384" cy="864096"/>
          </a:xfrm>
        </p:spPr>
        <p:txBody>
          <a:bodyPr>
            <a:noAutofit/>
          </a:bodyPr>
          <a:lstStyle>
            <a:lvl1pPr marL="0" indent="0">
              <a:buNone/>
              <a:defRPr sz="3150" b="1" baseline="0">
                <a:solidFill>
                  <a:srgbClr val="008DE5"/>
                </a:solidFill>
                <a:latin typeface="Arial" pitchFamily="34" charset="0"/>
                <a:cs typeface="Arial" pitchFamily="34" charset="0"/>
              </a:defRPr>
            </a:lvl1pPr>
            <a:lvl2pPr marL="342900" indent="0">
              <a:buNone/>
              <a:defRPr sz="2400">
                <a:solidFill>
                  <a:srgbClr val="008DE5"/>
                </a:solidFill>
                <a:latin typeface="Arial" pitchFamily="34" charset="0"/>
                <a:cs typeface="Arial" pitchFamily="34" charset="0"/>
              </a:defRPr>
            </a:lvl2pPr>
            <a:lvl3pPr marL="685800" indent="0">
              <a:buNone/>
              <a:defRPr sz="2400">
                <a:solidFill>
                  <a:srgbClr val="008DE5"/>
                </a:solidFill>
                <a:latin typeface="Arial" pitchFamily="34" charset="0"/>
                <a:cs typeface="Arial" pitchFamily="34" charset="0"/>
              </a:defRPr>
            </a:lvl3pPr>
            <a:lvl4pPr marL="1028700" indent="0">
              <a:buNone/>
              <a:defRPr sz="2400">
                <a:solidFill>
                  <a:srgbClr val="008DE5"/>
                </a:solidFill>
                <a:latin typeface="Arial" pitchFamily="34" charset="0"/>
                <a:cs typeface="Arial" pitchFamily="34" charset="0"/>
              </a:defRPr>
            </a:lvl4pPr>
            <a:lvl5pPr marL="1371600" indent="0">
              <a:buNone/>
              <a:defRPr sz="2400">
                <a:solidFill>
                  <a:srgbClr val="008DE5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Place your presentation title her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1967541" y="2708920"/>
            <a:ext cx="8735384" cy="864096"/>
          </a:xfrm>
        </p:spPr>
        <p:txBody>
          <a:bodyPr>
            <a:noAutofit/>
          </a:bodyPr>
          <a:lstStyle>
            <a:lvl1pPr marL="0" indent="0">
              <a:buNone/>
              <a:defRPr sz="1950" b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42900" indent="0">
              <a:buNone/>
              <a:defRPr sz="2400">
                <a:solidFill>
                  <a:srgbClr val="008DE5"/>
                </a:solidFill>
                <a:latin typeface="Arial" pitchFamily="34" charset="0"/>
                <a:cs typeface="Arial" pitchFamily="34" charset="0"/>
              </a:defRPr>
            </a:lvl2pPr>
            <a:lvl3pPr marL="685800" indent="0">
              <a:buNone/>
              <a:defRPr sz="2400">
                <a:solidFill>
                  <a:srgbClr val="008DE5"/>
                </a:solidFill>
                <a:latin typeface="Arial" pitchFamily="34" charset="0"/>
                <a:cs typeface="Arial" pitchFamily="34" charset="0"/>
              </a:defRPr>
            </a:lvl3pPr>
            <a:lvl4pPr marL="1028700" indent="0">
              <a:buNone/>
              <a:defRPr sz="2400">
                <a:solidFill>
                  <a:srgbClr val="008DE5"/>
                </a:solidFill>
                <a:latin typeface="Arial" pitchFamily="34" charset="0"/>
                <a:cs typeface="Arial" pitchFamily="34" charset="0"/>
              </a:defRPr>
            </a:lvl4pPr>
            <a:lvl5pPr marL="1371600" indent="0">
              <a:buNone/>
              <a:defRPr sz="2400">
                <a:solidFill>
                  <a:srgbClr val="008DE5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Place your presentation sub-title her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381" y="4005344"/>
            <a:ext cx="3945075" cy="25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08507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 advClick="0" advTm="30000">
        <p:fade/>
      </p:transition>
    </mc:Choice>
    <mc:Fallback xmlns="">
      <p:transition spd="med" advClick="0" advTm="30000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245EB3-3EF7-8AC4-2E15-E51ACAA1F3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61C6427-8829-F660-2E69-DF1A2F2D4E5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DBC6FBB-D81F-6A16-8DC1-82B08783149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E1817A0-9BC6-5477-347A-38908D0D0C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EC361-DC0B-4E14-A454-0DF92C97806E}" type="datetimeFigureOut">
              <a:rPr lang="en-GB" smtClean="0"/>
              <a:t>06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ACDB4AC-CBC3-3E83-0E95-DB5E5278D2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F439EE3-6972-1F5C-26B5-FEF699EFC5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46F894-DC0A-4B7D-B84B-FED84D17F05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29104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26" Type="http://schemas.openxmlformats.org/officeDocument/2006/relationships/slideLayout" Target="../slideLayouts/slideLayout56.xml"/><Relationship Id="rId39" Type="http://schemas.openxmlformats.org/officeDocument/2006/relationships/slideLayout" Target="../slideLayouts/slideLayout69.xml"/><Relationship Id="rId21" Type="http://schemas.openxmlformats.org/officeDocument/2006/relationships/slideLayout" Target="../slideLayouts/slideLayout51.xml"/><Relationship Id="rId34" Type="http://schemas.openxmlformats.org/officeDocument/2006/relationships/slideLayout" Target="../slideLayouts/slideLayout64.xml"/><Relationship Id="rId42" Type="http://schemas.openxmlformats.org/officeDocument/2006/relationships/slideLayout" Target="../slideLayouts/slideLayout72.xml"/><Relationship Id="rId47" Type="http://schemas.openxmlformats.org/officeDocument/2006/relationships/slideLayout" Target="../slideLayouts/slideLayout77.xml"/><Relationship Id="rId50" Type="http://schemas.openxmlformats.org/officeDocument/2006/relationships/slideLayout" Target="../slideLayouts/slideLayout80.xml"/><Relationship Id="rId55" Type="http://schemas.openxmlformats.org/officeDocument/2006/relationships/slideLayout" Target="../slideLayouts/slideLayout85.xml"/><Relationship Id="rId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9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41.xml"/><Relationship Id="rId24" Type="http://schemas.openxmlformats.org/officeDocument/2006/relationships/slideLayout" Target="../slideLayouts/slideLayout54.xml"/><Relationship Id="rId32" Type="http://schemas.openxmlformats.org/officeDocument/2006/relationships/slideLayout" Target="../slideLayouts/slideLayout62.xml"/><Relationship Id="rId37" Type="http://schemas.openxmlformats.org/officeDocument/2006/relationships/slideLayout" Target="../slideLayouts/slideLayout67.xml"/><Relationship Id="rId40" Type="http://schemas.openxmlformats.org/officeDocument/2006/relationships/slideLayout" Target="../slideLayouts/slideLayout70.xml"/><Relationship Id="rId45" Type="http://schemas.openxmlformats.org/officeDocument/2006/relationships/slideLayout" Target="../slideLayouts/slideLayout75.xml"/><Relationship Id="rId53" Type="http://schemas.openxmlformats.org/officeDocument/2006/relationships/slideLayout" Target="../slideLayouts/slideLayout83.xml"/><Relationship Id="rId58" Type="http://schemas.openxmlformats.org/officeDocument/2006/relationships/theme" Target="../theme/theme5.xml"/><Relationship Id="rId5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9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slideLayout" Target="../slideLayouts/slideLayout52.xml"/><Relationship Id="rId27" Type="http://schemas.openxmlformats.org/officeDocument/2006/relationships/slideLayout" Target="../slideLayouts/slideLayout57.xml"/><Relationship Id="rId30" Type="http://schemas.openxmlformats.org/officeDocument/2006/relationships/slideLayout" Target="../slideLayouts/slideLayout60.xml"/><Relationship Id="rId35" Type="http://schemas.openxmlformats.org/officeDocument/2006/relationships/slideLayout" Target="../slideLayouts/slideLayout65.xml"/><Relationship Id="rId43" Type="http://schemas.openxmlformats.org/officeDocument/2006/relationships/slideLayout" Target="../slideLayouts/slideLayout73.xml"/><Relationship Id="rId48" Type="http://schemas.openxmlformats.org/officeDocument/2006/relationships/slideLayout" Target="../slideLayouts/slideLayout78.xml"/><Relationship Id="rId56" Type="http://schemas.openxmlformats.org/officeDocument/2006/relationships/slideLayout" Target="../slideLayouts/slideLayout86.xml"/><Relationship Id="rId8" Type="http://schemas.openxmlformats.org/officeDocument/2006/relationships/slideLayout" Target="../slideLayouts/slideLayout38.xml"/><Relationship Id="rId51" Type="http://schemas.openxmlformats.org/officeDocument/2006/relationships/slideLayout" Target="../slideLayouts/slideLayout81.xml"/><Relationship Id="rId3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5" Type="http://schemas.openxmlformats.org/officeDocument/2006/relationships/slideLayout" Target="../slideLayouts/slideLayout55.xml"/><Relationship Id="rId33" Type="http://schemas.openxmlformats.org/officeDocument/2006/relationships/slideLayout" Target="../slideLayouts/slideLayout63.xml"/><Relationship Id="rId38" Type="http://schemas.openxmlformats.org/officeDocument/2006/relationships/slideLayout" Target="../slideLayouts/slideLayout68.xml"/><Relationship Id="rId46" Type="http://schemas.openxmlformats.org/officeDocument/2006/relationships/slideLayout" Target="../slideLayouts/slideLayout76.xml"/><Relationship Id="rId59" Type="http://schemas.openxmlformats.org/officeDocument/2006/relationships/image" Target="../media/image4.png"/><Relationship Id="rId20" Type="http://schemas.openxmlformats.org/officeDocument/2006/relationships/slideLayout" Target="../slideLayouts/slideLayout50.xml"/><Relationship Id="rId41" Type="http://schemas.openxmlformats.org/officeDocument/2006/relationships/slideLayout" Target="../slideLayouts/slideLayout71.xml"/><Relationship Id="rId54" Type="http://schemas.openxmlformats.org/officeDocument/2006/relationships/slideLayout" Target="../slideLayouts/slideLayout84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5.xml"/><Relationship Id="rId23" Type="http://schemas.openxmlformats.org/officeDocument/2006/relationships/slideLayout" Target="../slideLayouts/slideLayout53.xml"/><Relationship Id="rId28" Type="http://schemas.openxmlformats.org/officeDocument/2006/relationships/slideLayout" Target="../slideLayouts/slideLayout58.xml"/><Relationship Id="rId36" Type="http://schemas.openxmlformats.org/officeDocument/2006/relationships/slideLayout" Target="../slideLayouts/slideLayout66.xml"/><Relationship Id="rId49" Type="http://schemas.openxmlformats.org/officeDocument/2006/relationships/slideLayout" Target="../slideLayouts/slideLayout79.xml"/><Relationship Id="rId57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40.xml"/><Relationship Id="rId31" Type="http://schemas.openxmlformats.org/officeDocument/2006/relationships/slideLayout" Target="../slideLayouts/slideLayout61.xml"/><Relationship Id="rId44" Type="http://schemas.openxmlformats.org/officeDocument/2006/relationships/slideLayout" Target="../slideLayouts/slideLayout74.xml"/><Relationship Id="rId52" Type="http://schemas.openxmlformats.org/officeDocument/2006/relationships/slideLayout" Target="../slideLayouts/slideLayout8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11C205D-80A2-D46A-46B7-CED6FA80F5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B7C6612-A6FA-D364-4ABE-407445774E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1C1A1A-61CC-46C3-148D-B6157B3F93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8AEC361-DC0B-4E14-A454-0DF92C97806E}" type="datetimeFigureOut">
              <a:rPr lang="en-GB" smtClean="0"/>
              <a:t>06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683CF7-7E43-20A6-B0C9-BE63F47DAD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78D853-0D01-F52F-B0C4-838484EE3D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46F894-DC0A-4B7D-B84B-FED84D17F05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2631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72" r:id="rId12"/>
    <p:sldLayoutId id="2147483660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975" y="1597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75" y="1597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79987" y="163513"/>
            <a:ext cx="9863870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Slide title</a:t>
            </a:r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9968" y="1509714"/>
            <a:ext cx="11032066" cy="4613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Body text</a:t>
            </a:r>
          </a:p>
          <a:p>
            <a:pPr lvl="1"/>
            <a:r>
              <a:rPr lang="en-GB"/>
              <a:t>First level</a:t>
            </a:r>
          </a:p>
          <a:p>
            <a:pPr lvl="2"/>
            <a:r>
              <a:rPr lang="en-GB"/>
              <a:t>Second level</a:t>
            </a:r>
          </a:p>
          <a:p>
            <a:pPr lvl="3"/>
            <a:r>
              <a:rPr lang="en-GB"/>
              <a:t>Third level</a:t>
            </a:r>
          </a:p>
          <a:p>
            <a:pPr lvl="4"/>
            <a:r>
              <a:rPr lang="en-GB"/>
              <a:t>Quotation level</a:t>
            </a:r>
          </a:p>
        </p:txBody>
      </p:sp>
      <p:sp>
        <p:nvSpPr>
          <p:cNvPr id="1036" name="Text Box 12"/>
          <p:cNvSpPr txBox="1">
            <a:spLocks noChangeArrowheads="1"/>
          </p:cNvSpPr>
          <p:nvPr/>
        </p:nvSpPr>
        <p:spPr bwMode="auto">
          <a:xfrm>
            <a:off x="11385552" y="6675438"/>
            <a:ext cx="234949" cy="1317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615477">
              <a:spcBef>
                <a:spcPct val="0"/>
              </a:spcBef>
            </a:pPr>
            <a:endParaRPr lang="en-GB" sz="623">
              <a:solidFill>
                <a:schemeClr val="tx2"/>
              </a:solidFill>
              <a:latin typeface="+mn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9D5E7F0-D795-46C4-8AAF-F72F6CFA3AF5}"/>
              </a:ext>
            </a:extLst>
          </p:cNvPr>
          <p:cNvSpPr txBox="1"/>
          <p:nvPr userDrawn="1"/>
        </p:nvSpPr>
        <p:spPr>
          <a:xfrm>
            <a:off x="371654" y="6419190"/>
            <a:ext cx="7967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auto"/>
            <a:fld id="{34F92BC6-D7C3-584B-87F2-0B845776A5AD}" type="slidenum">
              <a:rPr lang="en-US" sz="1200" smtClean="0">
                <a:solidFill>
                  <a:srgbClr val="768692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pPr algn="l" fontAlgn="auto"/>
              <a:t>‹#›</a:t>
            </a:fld>
            <a:r>
              <a:rPr lang="en-US" sz="1200">
                <a:solidFill>
                  <a:srgbClr val="005EB8"/>
                </a:solidFill>
                <a:cs typeface="Arial" panose="020B0604020202020204" pitchFamily="34" charset="0"/>
              </a:rPr>
              <a:t> I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CBB73FE-386C-44D4-854F-390E6EA3FCB4}"/>
              </a:ext>
            </a:extLst>
          </p:cNvPr>
          <p:cNvSpPr/>
          <p:nvPr userDrawn="1"/>
        </p:nvSpPr>
        <p:spPr bwMode="auto">
          <a:xfrm>
            <a:off x="848546" y="6398440"/>
            <a:ext cx="4489017" cy="31849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74295" rIns="74295" bIns="7429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 defTabSz="722313"/>
            <a:r>
              <a:rPr lang="en-GB" sz="1200">
                <a:solidFill>
                  <a:schemeClr val="bg1">
                    <a:lumMod val="65000"/>
                  </a:schemeClr>
                </a:solidFill>
              </a:rPr>
              <a:t>24/25 Cancer Alliance Planning Pack</a:t>
            </a:r>
            <a:endParaRPr lang="en-GB" sz="1200">
              <a:solidFill>
                <a:schemeClr val="bg1">
                  <a:lumMod val="65000"/>
                </a:schemeClr>
              </a:solidFill>
              <a:cs typeface="Arial"/>
            </a:endParaRP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645709E1-C2AA-AE8C-E607-BF44A516BB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76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1658CDAC-CDAD-F539-C6C3-873D8E835D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44045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9" r:id="rId3"/>
  </p:sldLayoutIdLst>
  <p:txStyles>
    <p:titleStyle>
      <a:lvl1pPr algn="l" defTabSz="615477" rtl="0" eaLnBrk="1" fontAlgn="base" hangingPunct="1"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15477" rtl="0" eaLnBrk="1" fontAlgn="base" hangingPunct="1"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defTabSz="615477" rtl="0" eaLnBrk="1" fontAlgn="base" hangingPunct="1"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defTabSz="615477" rtl="0" eaLnBrk="1" fontAlgn="base" hangingPunct="1"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defTabSz="615477" rtl="0" eaLnBrk="1" fontAlgn="base" hangingPunct="1"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Trebuchet MS" pitchFamily="34" charset="0"/>
          <a:cs typeface="Arial" charset="0"/>
        </a:defRPr>
      </a:lvl5pPr>
      <a:lvl6pPr marL="316531" algn="l" defTabSz="615477" rtl="0" eaLnBrk="1" fontAlgn="base" hangingPunct="1"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Trebuchet MS" pitchFamily="34" charset="0"/>
          <a:cs typeface="Arial" charset="0"/>
        </a:defRPr>
      </a:lvl6pPr>
      <a:lvl7pPr marL="633062" algn="l" defTabSz="615477" rtl="0" eaLnBrk="1" fontAlgn="base" hangingPunct="1"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Trebuchet MS" pitchFamily="34" charset="0"/>
          <a:cs typeface="Arial" charset="0"/>
        </a:defRPr>
      </a:lvl7pPr>
      <a:lvl8pPr marL="949593" algn="l" defTabSz="615477" rtl="0" eaLnBrk="1" fontAlgn="base" hangingPunct="1"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Trebuchet MS" pitchFamily="34" charset="0"/>
          <a:cs typeface="Arial" charset="0"/>
        </a:defRPr>
      </a:lvl8pPr>
      <a:lvl9pPr marL="1266124" algn="l" defTabSz="615477" rtl="0" eaLnBrk="1" fontAlgn="base" hangingPunct="1"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algn="l" defTabSz="615477" rtl="0" eaLnBrk="1" fontAlgn="base" hangingPunct="1">
        <a:spcBef>
          <a:spcPct val="20000"/>
        </a:spcBef>
        <a:spcAft>
          <a:spcPct val="0"/>
        </a:spcAft>
        <a:defRPr sz="1108" b="1">
          <a:solidFill>
            <a:schemeClr val="tx1"/>
          </a:solidFill>
          <a:latin typeface="+mn-lt"/>
          <a:ea typeface="+mn-ea"/>
          <a:cs typeface="+mn-cs"/>
        </a:defRPr>
      </a:lvl1pPr>
      <a:lvl2pPr marL="307739" indent="-153869" algn="l" defTabSz="615477" rtl="0" eaLnBrk="1" fontAlgn="base" hangingPunct="1">
        <a:spcBef>
          <a:spcPct val="20000"/>
        </a:spcBef>
        <a:spcAft>
          <a:spcPct val="0"/>
        </a:spcAft>
        <a:buClrTx/>
        <a:buChar char="•"/>
        <a:defRPr sz="1108">
          <a:solidFill>
            <a:schemeClr val="tx1"/>
          </a:solidFill>
          <a:latin typeface="+mn-lt"/>
          <a:cs typeface="+mn-cs"/>
        </a:defRPr>
      </a:lvl2pPr>
      <a:lvl3pPr marL="615477" indent="-153869" algn="l" defTabSz="615477" rtl="0" eaLnBrk="1" fontAlgn="base" hangingPunct="1">
        <a:spcBef>
          <a:spcPct val="20000"/>
        </a:spcBef>
        <a:spcAft>
          <a:spcPct val="0"/>
        </a:spcAft>
        <a:buClrTx/>
        <a:buFont typeface="Arial" panose="020B0604020202020204" pitchFamily="34" charset="0"/>
        <a:buChar char="•"/>
        <a:defRPr sz="1108">
          <a:solidFill>
            <a:schemeClr val="tx1"/>
          </a:solidFill>
          <a:latin typeface="+mn-lt"/>
          <a:cs typeface="+mn-cs"/>
        </a:defRPr>
      </a:lvl3pPr>
      <a:lvl4pPr marL="926513" indent="-157167" algn="l" defTabSz="615477" rtl="0" eaLnBrk="1" fontAlgn="base" hangingPunct="1">
        <a:spcBef>
          <a:spcPct val="20000"/>
        </a:spcBef>
        <a:spcAft>
          <a:spcPct val="0"/>
        </a:spcAft>
        <a:buClrTx/>
        <a:buFont typeface="Trebuchet MS" pitchFamily="34" charset="0"/>
        <a:buChar char="–"/>
        <a:defRPr sz="1108">
          <a:solidFill>
            <a:schemeClr val="tx1"/>
          </a:solidFill>
          <a:latin typeface="+mn-lt"/>
          <a:cs typeface="+mn-cs"/>
        </a:defRPr>
      </a:lvl4pPr>
      <a:lvl5pPr marL="1383725" indent="-152771" algn="l" defTabSz="615477" rtl="0" eaLnBrk="1" fontAlgn="base" hangingPunct="1">
        <a:spcBef>
          <a:spcPct val="20000"/>
        </a:spcBef>
        <a:spcAft>
          <a:spcPct val="0"/>
        </a:spcAft>
        <a:buClrTx/>
        <a:buFont typeface="Trebuchet MS" pitchFamily="34" charset="0"/>
        <a:buChar char="–"/>
        <a:defRPr sz="1108">
          <a:solidFill>
            <a:schemeClr val="tx1"/>
          </a:solidFill>
          <a:latin typeface="+mn-lt"/>
          <a:cs typeface="+mn-cs"/>
        </a:defRPr>
      </a:lvl5pPr>
      <a:lvl6pPr marL="1700255" indent="-152771" algn="l" defTabSz="61547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108">
          <a:solidFill>
            <a:schemeClr val="tx1"/>
          </a:solidFill>
          <a:latin typeface="+mn-lt"/>
          <a:cs typeface="+mn-cs"/>
        </a:defRPr>
      </a:lvl6pPr>
      <a:lvl7pPr marL="2016786" indent="-152771" algn="l" defTabSz="61547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108">
          <a:solidFill>
            <a:schemeClr val="tx1"/>
          </a:solidFill>
          <a:latin typeface="+mn-lt"/>
          <a:cs typeface="+mn-cs"/>
        </a:defRPr>
      </a:lvl7pPr>
      <a:lvl8pPr marL="2333318" indent="-152771" algn="l" defTabSz="61547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108">
          <a:solidFill>
            <a:schemeClr val="tx1"/>
          </a:solidFill>
          <a:latin typeface="+mn-lt"/>
          <a:cs typeface="+mn-cs"/>
        </a:defRPr>
      </a:lvl8pPr>
      <a:lvl9pPr marL="2649848" indent="-152771" algn="l" defTabSz="61547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108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33062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1pPr>
      <a:lvl2pPr marL="316531" algn="l" defTabSz="633062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2pPr>
      <a:lvl3pPr marL="633062" algn="l" defTabSz="633062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3pPr>
      <a:lvl4pPr marL="949593" algn="l" defTabSz="633062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4pPr>
      <a:lvl5pPr marL="1266124" algn="l" defTabSz="633062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5pPr>
      <a:lvl6pPr marL="1582655" algn="l" defTabSz="633062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6pPr>
      <a:lvl7pPr marL="1899186" algn="l" defTabSz="633062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7pPr>
      <a:lvl8pPr marL="2215717" algn="l" defTabSz="633062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8pPr>
      <a:lvl9pPr marL="2532248" algn="l" defTabSz="633062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8E36E41-4DB9-30AA-3D99-BB54441AFB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270E47-1DAF-47B9-19AF-A8A3179264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7EB6BA7-6677-6A33-51A8-02809A198DE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EB1B343-5427-4E83-9557-3848BC7243C1}" type="datetimeFigureOut">
              <a:rPr lang="en-GB" smtClean="0"/>
              <a:t>06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B4E1B7-23F6-A4C3-0D23-AE66B5E76E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A7E3D4-EEDE-193E-47CE-49384C0E60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0B15D7-74A4-4D26-80F1-053BCDCE5D7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06575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0C963A1-AC6C-45E8-9A5E-5724DC43F4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06ACFE-E4D6-411B-9ADC-FFC9D7DBBD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DBF1BF-AB6C-4EA7-A16A-0C6C9EFA130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CD3CFA-4DDC-43FC-968A-540737FDA836}" type="datetimeFigureOut">
              <a:rPr lang="en-GB" smtClean="0"/>
              <a:t>06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1E0E1F-777F-42FA-A4A2-320208497D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1CC28B-BDF3-45C3-92FF-6562C624CA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0FC886-343C-4B72-AFE6-F0497CBE787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4796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rgbClr val="005EB8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logo&#10;&#10;Description automatically generated">
            <a:extLst>
              <a:ext uri="{FF2B5EF4-FFF2-40B4-BE49-F238E27FC236}">
                <a16:creationId xmlns:a16="http://schemas.microsoft.com/office/drawing/2014/main" id="{B03BC306-C287-1A2B-D547-0DC49C09C6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652321" y="180975"/>
            <a:ext cx="358704" cy="727284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00F4440-CEDC-0D92-E0D5-5C1E3B59B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388" y="180974"/>
            <a:ext cx="11290301" cy="75249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CA021F-8558-9528-DA3D-486CCDBEB5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0724" y="1260474"/>
            <a:ext cx="10748963" cy="47974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D1A8F0-AC4B-E4A0-94D0-99C4BFD973A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821288" y="6464733"/>
            <a:ext cx="2648399" cy="21070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2745F15-70B1-4CD9-A608-EFC1F2FB462B}" type="datetime1">
              <a:rPr lang="en-GB" smtClean="0"/>
              <a:t>06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C0FC7A-298A-77A0-6596-56B0B3FD8C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9388" y="6464733"/>
            <a:ext cx="4114800" cy="21070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© Prostate Cancer UK 2023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4517C40-7EB7-0CFD-6F6C-54AE57DE17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1066" y="6286501"/>
            <a:ext cx="431545" cy="38893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800" b="1">
                <a:solidFill>
                  <a:schemeClr val="tx1"/>
                </a:solidFill>
              </a:defRPr>
            </a:lvl1pPr>
          </a:lstStyle>
          <a:p>
            <a:fld id="{CBA53E11-492D-48B3-9F9B-09541CA2A39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83814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  <p:sldLayoutId id="2147483715" r:id="rId9"/>
    <p:sldLayoutId id="2147483716" r:id="rId10"/>
    <p:sldLayoutId id="2147483717" r:id="rId11"/>
    <p:sldLayoutId id="2147483718" r:id="rId12"/>
    <p:sldLayoutId id="2147483719" r:id="rId13"/>
    <p:sldLayoutId id="2147483720" r:id="rId14"/>
    <p:sldLayoutId id="2147483721" r:id="rId15"/>
    <p:sldLayoutId id="2147483722" r:id="rId16"/>
    <p:sldLayoutId id="2147483723" r:id="rId17"/>
    <p:sldLayoutId id="2147483724" r:id="rId18"/>
    <p:sldLayoutId id="2147483725" r:id="rId19"/>
    <p:sldLayoutId id="2147483726" r:id="rId20"/>
    <p:sldLayoutId id="2147483727" r:id="rId21"/>
    <p:sldLayoutId id="2147483728" r:id="rId22"/>
    <p:sldLayoutId id="2147483729" r:id="rId23"/>
    <p:sldLayoutId id="2147483730" r:id="rId24"/>
    <p:sldLayoutId id="2147483731" r:id="rId25"/>
    <p:sldLayoutId id="2147483732" r:id="rId26"/>
    <p:sldLayoutId id="2147483733" r:id="rId27"/>
    <p:sldLayoutId id="2147483734" r:id="rId28"/>
    <p:sldLayoutId id="2147483735" r:id="rId29"/>
    <p:sldLayoutId id="2147483736" r:id="rId30"/>
    <p:sldLayoutId id="2147483737" r:id="rId31"/>
    <p:sldLayoutId id="2147483738" r:id="rId32"/>
    <p:sldLayoutId id="2147483739" r:id="rId33"/>
    <p:sldLayoutId id="2147483740" r:id="rId34"/>
    <p:sldLayoutId id="2147483741" r:id="rId35"/>
    <p:sldLayoutId id="2147483742" r:id="rId36"/>
    <p:sldLayoutId id="2147483743" r:id="rId37"/>
    <p:sldLayoutId id="2147483744" r:id="rId38"/>
    <p:sldLayoutId id="2147483745" r:id="rId39"/>
    <p:sldLayoutId id="2147483746" r:id="rId40"/>
    <p:sldLayoutId id="2147483747" r:id="rId41"/>
    <p:sldLayoutId id="2147483748" r:id="rId42"/>
    <p:sldLayoutId id="2147483749" r:id="rId43"/>
    <p:sldLayoutId id="2147483750" r:id="rId44"/>
    <p:sldLayoutId id="2147483751" r:id="rId45"/>
    <p:sldLayoutId id="2147483752" r:id="rId46"/>
    <p:sldLayoutId id="2147483753" r:id="rId47"/>
    <p:sldLayoutId id="2147483754" r:id="rId48"/>
    <p:sldLayoutId id="2147483755" r:id="rId49"/>
    <p:sldLayoutId id="2147483756" r:id="rId50"/>
    <p:sldLayoutId id="2147483757" r:id="rId51"/>
    <p:sldLayoutId id="2147483758" r:id="rId52"/>
    <p:sldLayoutId id="2147483759" r:id="rId53"/>
    <p:sldLayoutId id="2147483760" r:id="rId54"/>
    <p:sldLayoutId id="2147483761" r:id="rId55"/>
    <p:sldLayoutId id="2147483762" r:id="rId56"/>
    <p:sldLayoutId id="2147483763" r:id="rId5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Wingdings" panose="05000000000000000000" pitchFamily="2" charset="2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26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113">
          <p15:clr>
            <a:srgbClr val="F26B43"/>
          </p15:clr>
        </p15:guide>
        <p15:guide id="4" pos="7225">
          <p15:clr>
            <a:srgbClr val="F26B43"/>
          </p15:clr>
        </p15:guide>
        <p15:guide id="5" orient="horz" pos="114">
          <p15:clr>
            <a:srgbClr val="F26B43"/>
          </p15:clr>
        </p15:guide>
        <p15:guide id="6" orient="horz" pos="4205">
          <p15:clr>
            <a:srgbClr val="F26B43"/>
          </p15:clr>
        </p15:guide>
        <p15:guide id="7" orient="horz" pos="3816">
          <p15:clr>
            <a:srgbClr val="F26B43"/>
          </p15:clr>
        </p15:guide>
        <p15:guide id="8" orient="horz" pos="794">
          <p15:clr>
            <a:srgbClr val="F26B43"/>
          </p15:clr>
        </p15:guide>
        <p15:guide id="9" pos="454">
          <p15:clr>
            <a:srgbClr val="F26B43"/>
          </p15:clr>
        </p15:guide>
        <p15:guide id="10" pos="755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16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https://prostatecanceruk.org/for-health-professionals/best-practice-and-innovation/innovation-event-optimising-the-diagnostic-pathway" TargetMode="External"/><Relationship Id="rId1" Type="http://schemas.openxmlformats.org/officeDocument/2006/relationships/slideLayout" Target="../slideLayouts/slideLayout51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8.xml"/><Relationship Id="rId4" Type="http://schemas.openxmlformats.org/officeDocument/2006/relationships/chart" Target="../charts/char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95A239-8F39-2B88-4468-314D6E53D5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20" y="164240"/>
            <a:ext cx="10033579" cy="1325563"/>
          </a:xfrm>
        </p:spPr>
        <p:txBody>
          <a:bodyPr>
            <a:normAutofit/>
          </a:bodyPr>
          <a:lstStyle/>
          <a:p>
            <a:r>
              <a:rPr lang="en-GB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tional Cancer Programme Deliverabl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89FD1F4-E542-ED93-0DB9-2A7703C70E18}"/>
              </a:ext>
            </a:extLst>
          </p:cNvPr>
          <p:cNvSpPr txBox="1"/>
          <p:nvPr/>
        </p:nvSpPr>
        <p:spPr>
          <a:xfrm>
            <a:off x="71120" y="1742658"/>
            <a:ext cx="11938000" cy="55092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tional Cancer Programme – Operational Performance Deliverab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un specific projects addressing; 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 mitigating known seasonal challenges; ii)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olling out the MDT streamlining guidance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; iii) safety netting for abnormal radiology and pathology; and iv) treatment waiting times for radiotherapy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tional Cancer Programme – Priority Pathway Deliverabl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ad a project with secondary care partners to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mplement risk stratification tools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such as Predict/ Cambridge Prognostic Groups, to reduce unnecessary progression to biopsy and/or progression to treatment regimens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mplete the implementation of nurse-led LATP biopsy services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 providers delivering prostate pathways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ork with providers in tiering where Urology has been identified as a priority pathway and those with lower than 60% FDS performance on the USC Urology/prostate pathway to complete a baseline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athway analyser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f 30 patients, investigate and identify challenges, agree recommendations and next steps for improvement. This should include a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cus on the wider Urology pathway beyond Prostate cancer, with a particular focus on bladder cancer pathways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here there are significant and growing challenges. Priority should be given to tier 1 providers in Q1, with other tiered providers prioritised for action by end Q2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pport and hold providers to account for delivery of improvement plans, including repeating pathway analysis at 6 months post baseline to evaluate impact of action/ recovery plan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tional Cancer Programme – Treatment Variation Deliverabl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mplement national priority recommendations from clinical audit/GIRFT reports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o reduce variation in treatment: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87680" marR="0" lvl="1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state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&gt;75% of men receiving radical treatment for high-risk/locally advanced prostate cancer 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0F6D7C3-9988-36A4-8D28-82C7D8B63C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20726" y="164240"/>
            <a:ext cx="1883827" cy="762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91733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3C574-0F2D-55D3-3907-29F359253EA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4988" y="360160"/>
            <a:ext cx="9722025" cy="708415"/>
          </a:xfrm>
        </p:spPr>
        <p:txBody>
          <a:bodyPr/>
          <a:lstStyle/>
          <a:p>
            <a:r>
              <a:rPr lang="en-GB" sz="3600" dirty="0"/>
              <a:t>National Cancer Programme Focus for Urology 24.25: COSD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86A3F74-4767-8E1E-F0BB-716273A739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68574"/>
            <a:ext cx="12047012" cy="5789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83625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3C574-0F2D-55D3-3907-29F359253EA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4988" y="360160"/>
            <a:ext cx="9722025" cy="708415"/>
          </a:xfrm>
        </p:spPr>
        <p:txBody>
          <a:bodyPr/>
          <a:lstStyle/>
          <a:p>
            <a:r>
              <a:rPr lang="en-GB" sz="3600" dirty="0"/>
              <a:t>National Cancer Programme Focus for Urology 24.25 (COSD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05D1763-8850-8E9B-1FCD-2CF19CCFC40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68575"/>
            <a:ext cx="12192000" cy="5728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51196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D4A786-285C-4338-4E47-2582FB856B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A picture containing knife&#10;&#10;Description automatically generated">
            <a:extLst>
              <a:ext uri="{FF2B5EF4-FFF2-40B4-BE49-F238E27FC236}">
                <a16:creationId xmlns:a16="http://schemas.microsoft.com/office/drawing/2014/main" id="{CA0666FF-FDD3-1B7E-B90F-AF7F93DB57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2550" y="53975"/>
            <a:ext cx="1949450" cy="79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9BC0AE5E-8F43-01D4-B158-CE60CCABBA1C}"/>
              </a:ext>
            </a:extLst>
          </p:cNvPr>
          <p:cNvSpPr txBox="1">
            <a:spLocks/>
          </p:cNvSpPr>
          <p:nvPr/>
        </p:nvSpPr>
        <p:spPr>
          <a:xfrm>
            <a:off x="484271" y="108030"/>
            <a:ext cx="8185432" cy="682463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05EB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000" b="1" i="0" u="none" strike="noStrike" kern="1200" cap="none" spc="0" normalizeH="0" baseline="0" noProof="0">
              <a:ln>
                <a:noFill/>
              </a:ln>
              <a:solidFill>
                <a:srgbClr val="005EB8"/>
              </a:solidFill>
              <a:effectLst/>
              <a:uLnTx/>
              <a:uFillTx/>
              <a:latin typeface="Calibri" panose="020F0502020204030204"/>
              <a:ea typeface="+mj-ea"/>
              <a:cs typeface="Arial" panose="020B0604020202020204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CDD565E8-59A7-8E3C-262E-D0CE56CBF566}"/>
              </a:ext>
            </a:extLst>
          </p:cNvPr>
          <p:cNvSpPr txBox="1">
            <a:spLocks/>
          </p:cNvSpPr>
          <p:nvPr/>
        </p:nvSpPr>
        <p:spPr>
          <a:xfrm>
            <a:off x="-119600" y="-25816"/>
            <a:ext cx="10292967" cy="68246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05EB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WAG CA and Provider Performance Improvement </a:t>
            </a:r>
            <a:r>
              <a:rPr lang="en-GB" sz="2800" dirty="0"/>
              <a:t>plans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rgbClr val="005EB8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1289238-3CA8-4B05-307F-35EF45D800F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47289" y="924339"/>
            <a:ext cx="8741663" cy="5859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885456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3C574-0F2D-55D3-3907-29F359253EA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0735" y="709314"/>
            <a:ext cx="9722025" cy="708415"/>
          </a:xfrm>
        </p:spPr>
        <p:txBody>
          <a:bodyPr/>
          <a:lstStyle/>
          <a:p>
            <a:r>
              <a:rPr lang="en-GB" sz="3600" dirty="0"/>
              <a:t>National Cancer Programme Focus for Urology 24.25 Improvement plans</a:t>
            </a:r>
          </a:p>
        </p:txBody>
      </p:sp>
      <p:graphicFrame>
        <p:nvGraphicFramePr>
          <p:cNvPr id="3" name="Table 4">
            <a:extLst>
              <a:ext uri="{FF2B5EF4-FFF2-40B4-BE49-F238E27FC236}">
                <a16:creationId xmlns:a16="http://schemas.microsoft.com/office/drawing/2014/main" id="{C8E278FA-C941-73A1-ADE7-672F51D5F2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5943846"/>
              </p:ext>
            </p:extLst>
          </p:nvPr>
        </p:nvGraphicFramePr>
        <p:xfrm>
          <a:off x="978704" y="2143351"/>
          <a:ext cx="10468659" cy="3845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2508">
                  <a:extLst>
                    <a:ext uri="{9D8B030D-6E8A-4147-A177-3AD203B41FA5}">
                      <a16:colId xmlns:a16="http://schemas.microsoft.com/office/drawing/2014/main" val="1711795126"/>
                    </a:ext>
                  </a:extLst>
                </a:gridCol>
                <a:gridCol w="3751821">
                  <a:extLst>
                    <a:ext uri="{9D8B030D-6E8A-4147-A177-3AD203B41FA5}">
                      <a16:colId xmlns:a16="http://schemas.microsoft.com/office/drawing/2014/main" val="1234403142"/>
                    </a:ext>
                  </a:extLst>
                </a:gridCol>
                <a:gridCol w="1472557">
                  <a:extLst>
                    <a:ext uri="{9D8B030D-6E8A-4147-A177-3AD203B41FA5}">
                      <a16:colId xmlns:a16="http://schemas.microsoft.com/office/drawing/2014/main" val="3156689638"/>
                    </a:ext>
                  </a:extLst>
                </a:gridCol>
                <a:gridCol w="3761773">
                  <a:extLst>
                    <a:ext uri="{9D8B030D-6E8A-4147-A177-3AD203B41FA5}">
                      <a16:colId xmlns:a16="http://schemas.microsoft.com/office/drawing/2014/main" val="343477767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Provi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Pla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Provi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Pla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45906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SF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dirty="0"/>
                        <a:t>Improvement oversight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dirty="0"/>
                        <a:t>Front door: Standardise triag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dirty="0"/>
                        <a:t>LATP </a:t>
                      </a:r>
                      <a:r>
                        <a:rPr lang="en-GB" dirty="0" err="1"/>
                        <a:t>demand:capacity</a:t>
                      </a:r>
                      <a:endParaRPr lang="en-GB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dirty="0"/>
                        <a:t>N/S LATP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dirty="0"/>
                        <a:t>CDC opportunit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GHF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dirty="0"/>
                        <a:t>Insights: deep dive and SW Dashboard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dirty="0"/>
                        <a:t>Workforce: Additional LATP (328) and flexi (504) capacity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dirty="0"/>
                        <a:t>MDT clinic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dirty="0"/>
                        <a:t>UIU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22600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SDHF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dirty="0"/>
                        <a:t>Insights (pathway analysis &amp; D:C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dirty="0"/>
                        <a:t>LATP, OPA, TURBT &amp; TULA capacity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dirty="0"/>
                        <a:t>N/S LATP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dirty="0"/>
                        <a:t>Diagnostic TA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NB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dirty="0"/>
                        <a:t>Introduce STT and reduce Diagnostic TATs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GB" dirty="0"/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dirty="0"/>
                        <a:t>TBC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dirty="0"/>
                        <a:t>LATP capacity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dirty="0"/>
                        <a:t>3T scanner / UIU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10993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087794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3C574-0F2D-55D3-3907-29F359253EA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4988" y="405785"/>
            <a:ext cx="9722025" cy="708415"/>
          </a:xfrm>
        </p:spPr>
        <p:txBody>
          <a:bodyPr/>
          <a:lstStyle/>
          <a:p>
            <a:r>
              <a:rPr lang="en-GB" sz="3600" dirty="0"/>
              <a:t>National Cancer Programme Focus for Urology 24.25 Investment</a:t>
            </a:r>
          </a:p>
        </p:txBody>
      </p:sp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D4D07C12-04A1-7D54-26AA-46704563C8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678562"/>
              </p:ext>
            </p:extLst>
          </p:nvPr>
        </p:nvGraphicFramePr>
        <p:xfrm>
          <a:off x="6400703" y="1372211"/>
          <a:ext cx="4918625" cy="3769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51377">
                  <a:extLst>
                    <a:ext uri="{9D8B030D-6E8A-4147-A177-3AD203B41FA5}">
                      <a16:colId xmlns:a16="http://schemas.microsoft.com/office/drawing/2014/main" val="438633575"/>
                    </a:ext>
                  </a:extLst>
                </a:gridCol>
                <a:gridCol w="3767248">
                  <a:extLst>
                    <a:ext uri="{9D8B030D-6E8A-4147-A177-3AD203B41FA5}">
                      <a16:colId xmlns:a16="http://schemas.microsoft.com/office/drawing/2014/main" val="1736933670"/>
                    </a:ext>
                  </a:extLst>
                </a:gridCol>
              </a:tblGrid>
              <a:tr h="188208">
                <a:tc>
                  <a:txBody>
                    <a:bodyPr/>
                    <a:lstStyle/>
                    <a:p>
                      <a:r>
                        <a:rPr lang="en-GB" dirty="0"/>
                        <a:t>Provi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Initiativ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35866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RU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Additional 500 haematuria US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03279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Cystoscopy scop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17152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Surgical care practitioner (increase consultant OPA clinic capacity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030964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Prostate theatre or LATP WL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01905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SDHF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Prostate Cancer Nurse practitioner to support triage and LAT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605716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0.5 WTE Consultant Surgeon Fixed ter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05822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UHB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Uro-oncology specialty Doctor 10PA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60238744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4AEBD107-94A0-965C-5E97-D98E66A6A8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3900157"/>
              </p:ext>
            </p:extLst>
          </p:nvPr>
        </p:nvGraphicFramePr>
        <p:xfrm>
          <a:off x="447553" y="1372211"/>
          <a:ext cx="5034116" cy="4414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1045">
                  <a:extLst>
                    <a:ext uri="{9D8B030D-6E8A-4147-A177-3AD203B41FA5}">
                      <a16:colId xmlns:a16="http://schemas.microsoft.com/office/drawing/2014/main" val="1828956814"/>
                    </a:ext>
                  </a:extLst>
                </a:gridCol>
                <a:gridCol w="3923071">
                  <a:extLst>
                    <a:ext uri="{9D8B030D-6E8A-4147-A177-3AD203B41FA5}">
                      <a16:colId xmlns:a16="http://schemas.microsoft.com/office/drawing/2014/main" val="113871019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Provi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Initiativ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555818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NB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Pathology enhanced rat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969337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Improvement Clinical Leadership (Pathology and Radiology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00645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Band 7 Urology CNS 1w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0852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GHF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Urology Band 3 1 </a:t>
                      </a:r>
                      <a:r>
                        <a:rPr lang="en-GB" dirty="0" err="1"/>
                        <a:t>wte</a:t>
                      </a:r>
                      <a:r>
                        <a:rPr lang="en-GB" dirty="0"/>
                        <a:t> MDT coordin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800727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Same day biopsy pilot (pathology uplift B3-7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083439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7 sessions per week Flexi cystoscopy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159635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SF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Cancer Faster diagnosis front door –admin, </a:t>
                      </a:r>
                      <a:r>
                        <a:rPr lang="en-GB"/>
                        <a:t>project management, CNS </a:t>
                      </a:r>
                      <a:r>
                        <a:rPr lang="en-GB" dirty="0"/>
                        <a:t>triag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45783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1.5PA Radiology reporting – bladder pathway improvem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81839497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E86C1D89-7A8C-64AA-E5C9-31ED6D41D411}"/>
              </a:ext>
            </a:extLst>
          </p:cNvPr>
          <p:cNvSpPr txBox="1"/>
          <p:nvPr/>
        </p:nvSpPr>
        <p:spPr>
          <a:xfrm>
            <a:off x="6400703" y="5451676"/>
            <a:ext cx="49186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c860k investment in pathway transformation and performance improvement </a:t>
            </a:r>
          </a:p>
        </p:txBody>
      </p:sp>
    </p:spTree>
    <p:extLst>
      <p:ext uri="{BB962C8B-B14F-4D97-AF65-F5344CB8AC3E}">
        <p14:creationId xmlns:p14="http://schemas.microsoft.com/office/powerpoint/2010/main" val="7657676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BF6401-CB70-C53D-9C29-453EEF70080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Cancer alliance</a:t>
            </a:r>
            <a:br>
              <a:rPr lang="en-GB" dirty="0"/>
            </a:br>
            <a:r>
              <a:rPr lang="en-GB" dirty="0"/>
              <a:t>comms 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A7AD091-0845-D47B-DA8E-0C40BA21FF0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5</a:t>
            </a:r>
            <a:r>
              <a:rPr lang="en-GB" baseline="30000" dirty="0"/>
              <a:t>th</a:t>
            </a:r>
            <a:r>
              <a:rPr lang="en-GB" dirty="0"/>
              <a:t> June 2024</a:t>
            </a:r>
          </a:p>
        </p:txBody>
      </p:sp>
    </p:spTree>
    <p:extLst>
      <p:ext uri="{BB962C8B-B14F-4D97-AF65-F5344CB8AC3E}">
        <p14:creationId xmlns:p14="http://schemas.microsoft.com/office/powerpoint/2010/main" val="6381946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1D2B816-4EA4-9D06-F0E2-68F4F8CF0E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novation event 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0F5A6D7-4386-21D2-F0C6-A47DC296208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15611" y="670165"/>
            <a:ext cx="2497037" cy="4797425"/>
          </a:xfrm>
        </p:spPr>
        <p:txBody>
          <a:bodyPr/>
          <a:lstStyle/>
          <a:p>
            <a:r>
              <a:rPr lang="en-GB" dirty="0"/>
              <a:t>26</a:t>
            </a:r>
            <a:r>
              <a:rPr lang="en-GB" baseline="30000" dirty="0"/>
              <a:t>th</a:t>
            </a:r>
            <a:r>
              <a:rPr lang="en-GB" dirty="0"/>
              <a:t> July </a:t>
            </a:r>
          </a:p>
          <a:p>
            <a:endParaRPr lang="en-GB" dirty="0"/>
          </a:p>
          <a:p>
            <a:r>
              <a:rPr lang="en-GB" dirty="0"/>
              <a:t>Faster Diagnosis Pathway Innovations </a:t>
            </a:r>
          </a:p>
          <a:p>
            <a:endParaRPr lang="en-GB" dirty="0"/>
          </a:p>
          <a:p>
            <a:r>
              <a:rPr lang="en-GB" dirty="0"/>
              <a:t>12pm-1.30pm </a:t>
            </a:r>
          </a:p>
          <a:p>
            <a:endParaRPr lang="en-GB" dirty="0"/>
          </a:p>
          <a:p>
            <a:r>
              <a:rPr lang="en-GB" dirty="0">
                <a:hlinkClick r:id="rId2"/>
              </a:rPr>
              <a:t>Register</a:t>
            </a:r>
            <a:endParaRPr lang="en-GB" dirty="0"/>
          </a:p>
          <a:p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1BF5218-98DE-2231-7C87-711AF8B001C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171463" y="357648"/>
            <a:ext cx="8623903" cy="4797425"/>
          </a:xfrm>
        </p:spPr>
        <p:txBody>
          <a:bodyPr/>
          <a:lstStyle/>
          <a:p>
            <a:pPr algn="l"/>
            <a:r>
              <a:rPr lang="en-GB" b="1" i="0" dirty="0">
                <a:solidFill>
                  <a:srgbClr val="1C1C1C"/>
                </a:solidFill>
                <a:effectLst/>
                <a:latin typeface="transcript pro"/>
              </a:rPr>
              <a:t>Dr Netty Kinsella RN, MSc. PhD</a:t>
            </a:r>
            <a:r>
              <a:rPr lang="en-GB" b="0" i="0" dirty="0">
                <a:solidFill>
                  <a:srgbClr val="1C1C1C"/>
                </a:solidFill>
                <a:effectLst/>
                <a:latin typeface="transcript pro"/>
              </a:rPr>
              <a:t> </a:t>
            </a:r>
          </a:p>
          <a:p>
            <a:pPr algn="l"/>
            <a:r>
              <a:rPr lang="en-GB" b="0" i="0" dirty="0">
                <a:solidFill>
                  <a:srgbClr val="1C1C1C"/>
                </a:solidFill>
                <a:effectLst/>
                <a:latin typeface="transcript pro"/>
              </a:rPr>
              <a:t>Dr Kinsella is a Uro-Oncology Nurse Consultant at The Royal Marsden NHS Foundation Trust. She'll be sharing The Royal Marsden, London’s pilot project reducing the time to prostate cancer diagnosis.</a:t>
            </a:r>
          </a:p>
          <a:p>
            <a:pPr algn="l"/>
            <a:r>
              <a:rPr lang="en-GB" b="1" i="0" dirty="0" err="1">
                <a:solidFill>
                  <a:srgbClr val="1C1C1C"/>
                </a:solidFill>
                <a:effectLst/>
                <a:latin typeface="transcript pro"/>
              </a:rPr>
              <a:t>Jaimin</a:t>
            </a:r>
            <a:r>
              <a:rPr lang="en-GB" b="1" i="0" dirty="0">
                <a:solidFill>
                  <a:srgbClr val="1C1C1C"/>
                </a:solidFill>
                <a:effectLst/>
                <a:latin typeface="transcript pro"/>
              </a:rPr>
              <a:t> Bhatt</a:t>
            </a:r>
            <a:r>
              <a:rPr lang="en-GB" b="0" i="0" dirty="0">
                <a:solidFill>
                  <a:srgbClr val="1C1C1C"/>
                </a:solidFill>
                <a:effectLst/>
                <a:latin typeface="transcript pro"/>
              </a:rPr>
              <a:t> </a:t>
            </a:r>
          </a:p>
          <a:p>
            <a:pPr algn="l"/>
            <a:r>
              <a:rPr lang="en-GB" b="0" i="0" dirty="0" err="1">
                <a:solidFill>
                  <a:srgbClr val="1C1C1C"/>
                </a:solidFill>
                <a:effectLst/>
                <a:latin typeface="transcript pro"/>
              </a:rPr>
              <a:t>Jaimin</a:t>
            </a:r>
            <a:r>
              <a:rPr lang="en-GB" b="0" i="0" dirty="0">
                <a:solidFill>
                  <a:srgbClr val="1C1C1C"/>
                </a:solidFill>
                <a:effectLst/>
                <a:latin typeface="transcript pro"/>
              </a:rPr>
              <a:t> is a Consultant Urological and Robotic Surgeon at Queen Elizabeth University Hospital, NHS Greater Glasgow and Clyde, Glasgow. He'll be sharing Queen Elizabeth University Hospital, Glasgow’s, personalised pathways work '</a:t>
            </a:r>
            <a:r>
              <a:rPr lang="en-GB" b="0" i="1" dirty="0">
                <a:solidFill>
                  <a:srgbClr val="1C1C1C"/>
                </a:solidFill>
                <a:effectLst/>
                <a:latin typeface="transcript pro"/>
              </a:rPr>
              <a:t>Filters and Cascades'.</a:t>
            </a:r>
            <a:endParaRPr lang="en-GB" b="0" i="0" dirty="0">
              <a:solidFill>
                <a:srgbClr val="1C1C1C"/>
              </a:solidFill>
              <a:effectLst/>
              <a:latin typeface="transcript pro"/>
            </a:endParaRPr>
          </a:p>
          <a:p>
            <a:pPr algn="l"/>
            <a:r>
              <a:rPr lang="en-GB" b="1" i="0" dirty="0">
                <a:solidFill>
                  <a:srgbClr val="1C1C1C"/>
                </a:solidFill>
                <a:effectLst/>
                <a:latin typeface="transcript pro"/>
              </a:rPr>
              <a:t>Rachel Baker-Green and Arbaaz </a:t>
            </a:r>
            <a:r>
              <a:rPr lang="en-GB" b="1" i="0" dirty="0" err="1">
                <a:solidFill>
                  <a:srgbClr val="1C1C1C"/>
                </a:solidFill>
                <a:effectLst/>
                <a:latin typeface="transcript pro"/>
              </a:rPr>
              <a:t>Allybux</a:t>
            </a:r>
            <a:r>
              <a:rPr lang="en-GB" b="0" i="0" dirty="0">
                <a:solidFill>
                  <a:srgbClr val="1C1C1C"/>
                </a:solidFill>
                <a:effectLst/>
                <a:latin typeface="transcript pro"/>
              </a:rPr>
              <a:t> </a:t>
            </a:r>
          </a:p>
          <a:p>
            <a:pPr algn="l"/>
            <a:r>
              <a:rPr lang="en-GB" b="0" i="0" dirty="0">
                <a:solidFill>
                  <a:srgbClr val="1C1C1C"/>
                </a:solidFill>
                <a:effectLst/>
                <a:latin typeface="transcript pro"/>
              </a:rPr>
              <a:t>Rachel Baker-Green is a Metastatic Renal Cancer Clinical Nurse Specialist and her colleague Arbaaz </a:t>
            </a:r>
            <a:r>
              <a:rPr lang="en-GB" b="0" i="0" dirty="0" err="1">
                <a:solidFill>
                  <a:srgbClr val="1C1C1C"/>
                </a:solidFill>
                <a:effectLst/>
                <a:latin typeface="transcript pro"/>
              </a:rPr>
              <a:t>Allybux</a:t>
            </a:r>
            <a:r>
              <a:rPr lang="en-GB" b="0" i="0" dirty="0">
                <a:solidFill>
                  <a:srgbClr val="1C1C1C"/>
                </a:solidFill>
                <a:effectLst/>
                <a:latin typeface="transcript pro"/>
              </a:rPr>
              <a:t> are from Leeds Teaching Hospitals NHS Trust. They'll be sharing insights into making the pathway more efficient and how they are engaging men from Black communities.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63842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C2D37C5-0377-F903-D30A-5F47449E74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en-GB" dirty="0"/>
              <a:t>PROSTATE CANCER UK EARLY DIAGNOSIS WEBINAR </a:t>
            </a:r>
          </a:p>
        </p:txBody>
      </p:sp>
      <p:graphicFrame>
        <p:nvGraphicFramePr>
          <p:cNvPr id="12" name="Content Placeholder 6">
            <a:extLst>
              <a:ext uri="{FF2B5EF4-FFF2-40B4-BE49-F238E27FC236}">
                <a16:creationId xmlns:a16="http://schemas.microsoft.com/office/drawing/2014/main" id="{71035358-BBDF-ED09-4D59-FFFB9854E0BB}"/>
              </a:ext>
            </a:extLst>
          </p:cNvPr>
          <p:cNvGraphicFramePr>
            <a:graphicFrameLocks noGrp="1"/>
          </p:cNvGraphicFramePr>
          <p:nvPr>
            <p:ph sz="half" idx="1"/>
          </p:nvPr>
        </p:nvGraphicFramePr>
        <p:xfrm>
          <a:off x="782638" y="1116393"/>
          <a:ext cx="5041900" cy="47974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502AB76-ACB8-96C6-EA6C-479DFF7ABF5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0" y="1116393"/>
            <a:ext cx="5760240" cy="4725539"/>
          </a:xfrm>
        </p:spPr>
        <p:txBody>
          <a:bodyPr vert="horz" lIns="0" tIns="0" rIns="0" bIns="0" rtlCol="0" anchor="t">
            <a:noAutofit/>
          </a:bodyPr>
          <a:lstStyle/>
          <a:p>
            <a:pPr marL="342900" indent="-342900" algn="l" rtl="0" fontAlgn="base">
              <a:buFont typeface="Arial" panose="020B0604020202020204" pitchFamily="34" charset="0"/>
              <a:buChar char="•"/>
            </a:pPr>
            <a:r>
              <a:rPr lang="en-GB" b="0" i="0" dirty="0">
                <a:effectLst/>
              </a:rPr>
              <a:t>Learn the high-risk demographics for prostate cancer.   </a:t>
            </a:r>
            <a:endParaRPr lang="en-GB" b="0" i="0" dirty="0">
              <a:effectLst/>
              <a:cs typeface="Arial"/>
            </a:endParaRPr>
          </a:p>
          <a:p>
            <a:pPr marL="342900" indent="-342900" algn="l" rtl="0" fontAlgn="base">
              <a:buFont typeface="Arial" panose="020B0604020202020204" pitchFamily="34" charset="0"/>
              <a:buChar char="•"/>
            </a:pPr>
            <a:r>
              <a:rPr lang="en-GB" b="0" i="0" dirty="0">
                <a:effectLst/>
              </a:rPr>
              <a:t>Assess (&amp; reassess) need for PSA blood testing.   </a:t>
            </a:r>
            <a:endParaRPr lang="en-GB" b="0" i="0" dirty="0">
              <a:effectLst/>
              <a:cs typeface="Arial"/>
            </a:endParaRPr>
          </a:p>
          <a:p>
            <a:pPr marL="342900" indent="-342900" algn="l" rtl="0" fontAlgn="base">
              <a:buFont typeface="Arial" panose="020B0604020202020204" pitchFamily="34" charset="0"/>
              <a:buChar char="•"/>
            </a:pPr>
            <a:r>
              <a:rPr lang="en-GB" b="0" i="0" dirty="0">
                <a:effectLst/>
              </a:rPr>
              <a:t>Explain the recent changes in the diagnostic pathway.  </a:t>
            </a:r>
            <a:endParaRPr lang="en-GB" b="0" i="0" dirty="0">
              <a:effectLst/>
              <a:cs typeface="Arial"/>
            </a:endParaRPr>
          </a:p>
          <a:p>
            <a:pPr marL="342900" indent="-342900" algn="l" rtl="0" fontAlgn="base">
              <a:buFont typeface="Arial" panose="020B0604020202020204" pitchFamily="34" charset="0"/>
              <a:buChar char="•"/>
            </a:pPr>
            <a:r>
              <a:rPr lang="en-GB" b="0" i="0" dirty="0">
                <a:effectLst/>
              </a:rPr>
              <a:t>Understand the key health inequalities/inequities in prostate cancer.   </a:t>
            </a:r>
            <a:endParaRPr lang="en-GB" b="0" i="0" dirty="0">
              <a:effectLst/>
              <a:cs typeface="Arial"/>
            </a:endParaRPr>
          </a:p>
          <a:p>
            <a:pPr marL="342900" indent="-342900" algn="l" rtl="0" fontAlgn="base">
              <a:buFont typeface="Arial" panose="020B0604020202020204" pitchFamily="34" charset="0"/>
              <a:buChar char="•"/>
            </a:pPr>
            <a:r>
              <a:rPr lang="en-GB" b="0" i="0" dirty="0">
                <a:effectLst/>
              </a:rPr>
              <a:t>Learn the latest PCN DES requirements.   </a:t>
            </a:r>
            <a:endParaRPr lang="en-GB" b="0" i="0" dirty="0">
              <a:effectLst/>
              <a:cs typeface="Arial"/>
            </a:endParaRPr>
          </a:p>
          <a:p>
            <a:pPr marL="342900" indent="-342900" algn="l" rtl="0" fontAlgn="base">
              <a:buFont typeface="Arial" panose="020B0604020202020204" pitchFamily="34" charset="0"/>
              <a:buChar char="•"/>
            </a:pPr>
            <a:r>
              <a:rPr lang="en-GB" b="0" i="0" dirty="0">
                <a:effectLst/>
              </a:rPr>
              <a:t>Identify where to signpost patients for more information. </a:t>
            </a:r>
            <a:endParaRPr lang="en-GB" b="0" i="0" dirty="0">
              <a:effectLst/>
              <a:cs typeface="Arial"/>
            </a:endParaRPr>
          </a:p>
          <a:p>
            <a:endParaRPr lang="en-GB" dirty="0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BEF5EAD0-627E-9304-EF08-4C35F274B0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anchor="b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Prostate Cancer UK 2023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8E97BBD4-60E1-79CE-89CB-1F9CD4E1AA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anchor="b"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CBA53E11-492D-48B3-9F9B-09541CA2A39A}" type="slidenum">
              <a:rPr kumimoji="0" lang="en-GB" sz="1800" b="1" i="0" u="none" strike="noStrike" kern="1200" cap="none" spc="0" normalizeH="0" baseline="0" noProof="0" smtClean="0">
                <a:ln>
                  <a:noFill/>
                </a:ln>
                <a:solidFill>
                  <a:srgbClr val="1B1B1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1B1B1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" name="Picture 2" descr="A qr code with black squares&#10;&#10;Description automatically generated">
            <a:extLst>
              <a:ext uri="{FF2B5EF4-FFF2-40B4-BE49-F238E27FC236}">
                <a16:creationId xmlns:a16="http://schemas.microsoft.com/office/drawing/2014/main" id="{02627A69-937A-C8E8-4301-06F7A6F0F38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1139" y="5682136"/>
            <a:ext cx="792497" cy="7924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4438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95A239-8F39-2B88-4468-314D6E53D5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614078"/>
            <a:ext cx="10515600" cy="1325563"/>
          </a:xfrm>
        </p:spPr>
        <p:txBody>
          <a:bodyPr>
            <a:normAutofit/>
          </a:bodyPr>
          <a:lstStyle/>
          <a:p>
            <a:r>
              <a:rPr lang="en-GB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tional Cancer Programme Deliverab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F0B02B3-FC85-DB64-00D0-C8F070620C1F}"/>
              </a:ext>
            </a:extLst>
          </p:cNvPr>
          <p:cNvSpPr txBox="1"/>
          <p:nvPr/>
        </p:nvSpPr>
        <p:spPr>
          <a:xfrm>
            <a:off x="285894" y="1657893"/>
            <a:ext cx="11409680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W Prostate Group and SWAG Clinical Advisory Group alignment of work plans Q4 23.24 for inclusion in SWAG CA 24.25 pla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tribute to development and adopt use of prognostic predictive tools for referral and triag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sign and complete an Audit of Prostate staging practices: </a:t>
            </a:r>
            <a:r>
              <a:rPr kumimoji="0" lang="en-GB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statE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Ncer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agInG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MAging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ENIGMA) audi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und, utilise pathway and practice intelligence </a:t>
            </a:r>
            <a:r>
              <a:rPr lang="en-GB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further develop the SW Prostate dashboar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nderstand and investigate variation in radical treatment decision making with a view to achieving &gt;75%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f men receiving radical treatment for high-risk/locally advanced prostate cancer across SWAG provider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pport innovations Ai programme: </a:t>
            </a:r>
            <a:r>
              <a:rPr kumimoji="0" lang="en-GB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ontics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and Lucida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oll out Nurse led LATP biopsy where not currently optimised and review opportunity for NBT training accredita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pport the development of Urology Investigation Uni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dentify Bladder pathway improvement prioriti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mprovement in Core qualit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nce these discussions conversations with the National Cancer Programme have clarified the expectations requirements regarding MDT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treamlining and there is an expectation of development of Standards of Car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09AD84C-96D3-5D51-33B9-299061A413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71013" y="133760"/>
            <a:ext cx="1883827" cy="762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83525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95A239-8F39-2B88-4468-314D6E53D5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5" y="1406726"/>
            <a:ext cx="10515600" cy="1325563"/>
          </a:xfrm>
        </p:spPr>
        <p:txBody>
          <a:bodyPr>
            <a:normAutofit fontScale="90000"/>
          </a:bodyPr>
          <a:lstStyle/>
          <a:p>
            <a:r>
              <a:rPr lang="en-GB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W Prostate Dashboard: </a:t>
            </a:r>
            <a:r>
              <a:rPr kumimoji="0" lang="en-GB" sz="4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und, utilise pathway and practice intelligence </a:t>
            </a:r>
            <a:r>
              <a:rPr lang="en-GB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</a:t>
            </a:r>
            <a:r>
              <a:rPr kumimoji="0" lang="en-GB" sz="4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further develop the SW Prostate dashboard</a:t>
            </a:r>
            <a:br>
              <a:rPr kumimoji="0" lang="en-GB" sz="4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endParaRPr lang="en-GB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09AD84C-96D3-5D51-33B9-299061A413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71013" y="133760"/>
            <a:ext cx="1883827" cy="76206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8C6B3AD-92C5-5CC9-3C05-DC2E276158D6}"/>
              </a:ext>
            </a:extLst>
          </p:cNvPr>
          <p:cNvSpPr txBox="1"/>
          <p:nvPr/>
        </p:nvSpPr>
        <p:spPr>
          <a:xfrm>
            <a:off x="358815" y="2829559"/>
            <a:ext cx="11192719" cy="34778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0" indent="-342900">
              <a:buFont typeface="+mj-lt"/>
              <a:buAutoNum type="arabicPeriod"/>
            </a:pPr>
            <a:r>
              <a:rPr lang="en-GB" sz="2000" spc="-35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n extension of the current Prostate dashboard, this will include ensuring access and maintaining the data freshness. There is also the need to refresh the data sharing agreements.</a:t>
            </a:r>
            <a:endParaRPr lang="en-GB" sz="20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en-GB" sz="2000" spc="-35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s above,  with the following enhancements to the dashboard</a:t>
            </a:r>
            <a:endParaRPr lang="en-GB" sz="20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lvl="1" indent="-285750">
              <a:buFont typeface="+mj-lt"/>
              <a:buAutoNum type="alphaLcPeriod"/>
            </a:pPr>
            <a:r>
              <a:rPr lang="en-GB" sz="2000" spc="-35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The addition of </a:t>
            </a:r>
            <a:r>
              <a:rPr lang="en-GB" sz="2000" spc="-35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atient demographic </a:t>
            </a:r>
            <a:r>
              <a:rPr lang="en-GB" sz="2000" spc="-35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data </a:t>
            </a:r>
            <a:r>
              <a:rPr lang="en-GB" sz="2000" spc="-35" dirty="0" err="1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incl</a:t>
            </a:r>
            <a:r>
              <a:rPr lang="en-GB" sz="2000" spc="-35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ethnicity and deprivation</a:t>
            </a:r>
            <a:endParaRPr lang="en-GB" sz="20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lvl="1" indent="-285750">
              <a:buFont typeface="+mj-lt"/>
              <a:buAutoNum type="alphaLcPeriod"/>
            </a:pPr>
            <a:r>
              <a:rPr lang="en-GB" sz="2000" spc="-35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The automatic download of data from the SCR to the Dashboard (maybe up to 70% ) </a:t>
            </a:r>
            <a:endParaRPr lang="en-GB" sz="20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lvl="1" indent="-285750">
              <a:buFont typeface="+mj-lt"/>
              <a:buAutoNum type="alphaLcPeriod"/>
            </a:pPr>
            <a:r>
              <a:rPr lang="en-GB" sz="2000" spc="-35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Ingestion of the PYE score of likelihood of cancer into the Prostate dashboard.</a:t>
            </a:r>
          </a:p>
          <a:p>
            <a:pPr lvl="1"/>
            <a:endParaRPr lang="en-GB" sz="2000" spc="-35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2000" spc="-35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Continuation of the dashboard until 31st March 2025 and enhancements specified above	£22,584</a:t>
            </a:r>
          </a:p>
          <a:p>
            <a:endParaRPr lang="en-GB" sz="2000" spc="-35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2000" spc="-35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SOP refreshed and circulated to updated contacts</a:t>
            </a:r>
          </a:p>
          <a:p>
            <a:r>
              <a:rPr lang="en-GB" sz="2000" spc="-35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QA undertaken and circulated</a:t>
            </a:r>
          </a:p>
        </p:txBody>
      </p:sp>
    </p:spTree>
    <p:extLst>
      <p:ext uri="{BB962C8B-B14F-4D97-AF65-F5344CB8AC3E}">
        <p14:creationId xmlns:p14="http://schemas.microsoft.com/office/powerpoint/2010/main" val="28588984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95A239-8F39-2B88-4468-314D6E53D5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1493" y="1278169"/>
            <a:ext cx="10515600" cy="1325563"/>
          </a:xfrm>
        </p:spPr>
        <p:txBody>
          <a:bodyPr>
            <a:noAutofit/>
          </a:bodyPr>
          <a:lstStyle/>
          <a:p>
            <a:r>
              <a:rPr lang="en-GB" sz="3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W Prostate Dashboard: </a:t>
            </a:r>
            <a: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und, utilise pathway and practice intelligence </a:t>
            </a:r>
            <a:r>
              <a:rPr lang="en-GB" sz="3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</a:t>
            </a:r>
            <a: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further develop the SW Prostate dashboard</a:t>
            </a:r>
            <a:b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br>
              <a:rPr kumimoji="0" lang="en-GB" altLang="en-US" sz="3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lang="en-GB" sz="320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09AD84C-96D3-5D51-33B9-299061A413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71013" y="133760"/>
            <a:ext cx="1883827" cy="762066"/>
          </a:xfrm>
          <a:prstGeom prst="rect">
            <a:avLst/>
          </a:prstGeom>
        </p:spPr>
      </p:pic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6C590FF2-B289-9979-E8C0-8371D7E77D7B}"/>
              </a:ext>
            </a:extLst>
          </p:cNvPr>
          <p:cNvGraphicFramePr>
            <a:graphicFrameLocks noGrp="1"/>
          </p:cNvGraphicFramePr>
          <p:nvPr/>
        </p:nvGraphicFramePr>
        <p:xfrm>
          <a:off x="231493" y="2968906"/>
          <a:ext cx="11026425" cy="341376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29846">
                  <a:extLst>
                    <a:ext uri="{9D8B030D-6E8A-4147-A177-3AD203B41FA5}">
                      <a16:colId xmlns:a16="http://schemas.microsoft.com/office/drawing/2014/main" val="3339824653"/>
                    </a:ext>
                  </a:extLst>
                </a:gridCol>
                <a:gridCol w="1218965">
                  <a:extLst>
                    <a:ext uri="{9D8B030D-6E8A-4147-A177-3AD203B41FA5}">
                      <a16:colId xmlns:a16="http://schemas.microsoft.com/office/drawing/2014/main" val="1837751292"/>
                    </a:ext>
                  </a:extLst>
                </a:gridCol>
                <a:gridCol w="1086851">
                  <a:extLst>
                    <a:ext uri="{9D8B030D-6E8A-4147-A177-3AD203B41FA5}">
                      <a16:colId xmlns:a16="http://schemas.microsoft.com/office/drawing/2014/main" val="529510271"/>
                    </a:ext>
                  </a:extLst>
                </a:gridCol>
                <a:gridCol w="784431">
                  <a:extLst>
                    <a:ext uri="{9D8B030D-6E8A-4147-A177-3AD203B41FA5}">
                      <a16:colId xmlns:a16="http://schemas.microsoft.com/office/drawing/2014/main" val="919093559"/>
                    </a:ext>
                  </a:extLst>
                </a:gridCol>
                <a:gridCol w="1240640">
                  <a:extLst>
                    <a:ext uri="{9D8B030D-6E8A-4147-A177-3AD203B41FA5}">
                      <a16:colId xmlns:a16="http://schemas.microsoft.com/office/drawing/2014/main" val="2564703311"/>
                    </a:ext>
                  </a:extLst>
                </a:gridCol>
                <a:gridCol w="1086851">
                  <a:extLst>
                    <a:ext uri="{9D8B030D-6E8A-4147-A177-3AD203B41FA5}">
                      <a16:colId xmlns:a16="http://schemas.microsoft.com/office/drawing/2014/main" val="2364309499"/>
                    </a:ext>
                  </a:extLst>
                </a:gridCol>
                <a:gridCol w="853586">
                  <a:extLst>
                    <a:ext uri="{9D8B030D-6E8A-4147-A177-3AD203B41FA5}">
                      <a16:colId xmlns:a16="http://schemas.microsoft.com/office/drawing/2014/main" val="1115116020"/>
                    </a:ext>
                  </a:extLst>
                </a:gridCol>
                <a:gridCol w="878357">
                  <a:extLst>
                    <a:ext uri="{9D8B030D-6E8A-4147-A177-3AD203B41FA5}">
                      <a16:colId xmlns:a16="http://schemas.microsoft.com/office/drawing/2014/main" val="3835322347"/>
                    </a:ext>
                  </a:extLst>
                </a:gridCol>
                <a:gridCol w="905192">
                  <a:extLst>
                    <a:ext uri="{9D8B030D-6E8A-4147-A177-3AD203B41FA5}">
                      <a16:colId xmlns:a16="http://schemas.microsoft.com/office/drawing/2014/main" val="155683642"/>
                    </a:ext>
                  </a:extLst>
                </a:gridCol>
                <a:gridCol w="1023890">
                  <a:extLst>
                    <a:ext uri="{9D8B030D-6E8A-4147-A177-3AD203B41FA5}">
                      <a16:colId xmlns:a16="http://schemas.microsoft.com/office/drawing/2014/main" val="4267106557"/>
                    </a:ext>
                  </a:extLst>
                </a:gridCol>
                <a:gridCol w="1117816">
                  <a:extLst>
                    <a:ext uri="{9D8B030D-6E8A-4147-A177-3AD203B41FA5}">
                      <a16:colId xmlns:a16="http://schemas.microsoft.com/office/drawing/2014/main" val="388709094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r>
                        <a:rPr lang="en-GB" sz="1600">
                          <a:effectLst/>
                        </a:rPr>
                        <a:t> </a:t>
                      </a:r>
                      <a:endParaRPr lang="en-GB" sz="16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effectLst/>
                        </a:rPr>
                        <a:t>Top 1</a:t>
                      </a:r>
                      <a:endParaRPr lang="en-GB" sz="16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effectLst/>
                        </a:rPr>
                        <a:t>Top 2</a:t>
                      </a:r>
                      <a:endParaRPr lang="en-GB" sz="16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effectLst/>
                        </a:rPr>
                        <a:t>Top 3</a:t>
                      </a:r>
                      <a:endParaRPr lang="en-GB" sz="16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effectLst/>
                        </a:rPr>
                        <a:t>Top 4</a:t>
                      </a:r>
                      <a:endParaRPr lang="en-GB" sz="16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effectLst/>
                        </a:rPr>
                        <a:t>Top 5</a:t>
                      </a:r>
                      <a:endParaRPr lang="en-GB" sz="16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effectLst/>
                        </a:rPr>
                        <a:t>Top 6</a:t>
                      </a:r>
                      <a:endParaRPr lang="en-GB" sz="16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effectLst/>
                        </a:rPr>
                        <a:t>Top 7</a:t>
                      </a:r>
                      <a:endParaRPr lang="en-GB" sz="16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GB" sz="1600" dirty="0">
                          <a:effectLst/>
                        </a:rPr>
                        <a:t>Top 8</a:t>
                      </a:r>
                      <a:endParaRPr lang="en-GB" sz="1600" dirty="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effectLst/>
                        </a:rPr>
                        <a:t>Top 9</a:t>
                      </a:r>
                      <a:endParaRPr lang="en-GB" sz="16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effectLst/>
                        </a:rPr>
                        <a:t>Top 10</a:t>
                      </a:r>
                      <a:endParaRPr lang="en-GB" sz="16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7299131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r>
                        <a:rPr lang="en-GB" sz="1600">
                          <a:effectLst/>
                        </a:rPr>
                        <a:t>All</a:t>
                      </a:r>
                      <a:endParaRPr lang="en-GB" sz="16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effectLst/>
                        </a:rPr>
                        <a:t>PIRADS Score</a:t>
                      </a:r>
                      <a:endParaRPr lang="en-GB" sz="16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effectLst/>
                        </a:rPr>
                        <a:t>Likert Score</a:t>
                      </a:r>
                      <a:endParaRPr lang="en-GB" sz="16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effectLst/>
                        </a:rPr>
                        <a:t>Index Lesion Diameter</a:t>
                      </a:r>
                      <a:endParaRPr lang="en-GB" sz="16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GB" sz="1600" dirty="0">
                          <a:effectLst/>
                        </a:rPr>
                        <a:t>MRI strength </a:t>
                      </a:r>
                      <a:endParaRPr lang="en-GB" sz="1600" dirty="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effectLst/>
                        </a:rPr>
                        <a:t>N Stage</a:t>
                      </a:r>
                      <a:endParaRPr lang="en-GB" sz="16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effectLst/>
                        </a:rPr>
                        <a:t>T Stage</a:t>
                      </a:r>
                      <a:endParaRPr lang="en-GB" sz="16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effectLst/>
                        </a:rPr>
                        <a:t>Syst Cores</a:t>
                      </a:r>
                      <a:endParaRPr lang="en-GB" sz="16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GB" sz="1600" dirty="0" err="1">
                          <a:effectLst/>
                        </a:rPr>
                        <a:t>Targ</a:t>
                      </a:r>
                      <a:r>
                        <a:rPr lang="en-GB" sz="1600" dirty="0">
                          <a:effectLst/>
                        </a:rPr>
                        <a:t> Cores</a:t>
                      </a:r>
                      <a:endParaRPr lang="en-GB" sz="1600" dirty="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effectLst/>
                        </a:rPr>
                        <a:t>Unspec Cores</a:t>
                      </a:r>
                      <a:endParaRPr lang="en-GB" sz="16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effectLst/>
                        </a:rPr>
                        <a:t>Left Max Length</a:t>
                      </a:r>
                      <a:endParaRPr lang="en-GB" sz="16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71465517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r>
                        <a:rPr lang="en-GB" sz="1600">
                          <a:effectLst/>
                        </a:rPr>
                        <a:t>2022</a:t>
                      </a:r>
                      <a:endParaRPr lang="en-GB" sz="16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effectLst/>
                        </a:rPr>
                        <a:t>PIRADS Score</a:t>
                      </a:r>
                      <a:endParaRPr lang="en-GB" sz="16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effectLst/>
                        </a:rPr>
                        <a:t>Index Lesion Diameter</a:t>
                      </a:r>
                      <a:endParaRPr lang="en-GB" sz="16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effectLst/>
                        </a:rPr>
                        <a:t>Likert Score</a:t>
                      </a:r>
                      <a:endParaRPr lang="en-GB" sz="16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effectLst/>
                        </a:rPr>
                        <a:t>MRI strength </a:t>
                      </a:r>
                      <a:endParaRPr lang="en-GB" sz="16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effectLst/>
                        </a:rPr>
                        <a:t>N stage</a:t>
                      </a:r>
                      <a:endParaRPr lang="en-GB" sz="16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effectLst/>
                        </a:rPr>
                        <a:t>T Stage</a:t>
                      </a:r>
                      <a:endParaRPr lang="en-GB" sz="16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effectLst/>
                        </a:rPr>
                        <a:t>Syst Cores</a:t>
                      </a:r>
                      <a:endParaRPr lang="en-GB" sz="16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effectLst/>
                        </a:rPr>
                        <a:t>Targ Cores</a:t>
                      </a:r>
                      <a:endParaRPr lang="en-GB" sz="16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effectLst/>
                        </a:rPr>
                        <a:t>Unspec Cores</a:t>
                      </a:r>
                      <a:endParaRPr lang="en-GB" sz="16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effectLst/>
                        </a:rPr>
                        <a:t>Left Max Length</a:t>
                      </a:r>
                      <a:endParaRPr lang="en-GB" sz="16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30179019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r>
                        <a:rPr lang="en-GB" sz="1600">
                          <a:effectLst/>
                        </a:rPr>
                        <a:t>2021</a:t>
                      </a:r>
                      <a:endParaRPr lang="en-GB" sz="16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effectLst/>
                        </a:rPr>
                        <a:t>PIRADS Score</a:t>
                      </a:r>
                      <a:endParaRPr lang="en-GB" sz="16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effectLst/>
                        </a:rPr>
                        <a:t>Likert Score</a:t>
                      </a:r>
                      <a:endParaRPr lang="en-GB" sz="16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effectLst/>
                        </a:rPr>
                        <a:t>MRI strength</a:t>
                      </a:r>
                      <a:endParaRPr lang="en-GB" sz="16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effectLst/>
                        </a:rPr>
                        <a:t>Index Lesion Diameter</a:t>
                      </a:r>
                      <a:endParaRPr lang="en-GB" sz="16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effectLst/>
                        </a:rPr>
                        <a:t>N stage</a:t>
                      </a:r>
                      <a:endParaRPr lang="en-GB" sz="16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effectLst/>
                        </a:rPr>
                        <a:t>Syst Cores</a:t>
                      </a:r>
                      <a:endParaRPr lang="en-GB" sz="16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effectLst/>
                        </a:rPr>
                        <a:t>Targ Cores</a:t>
                      </a:r>
                      <a:endParaRPr lang="en-GB" sz="16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effectLst/>
                        </a:rPr>
                        <a:t>Unspec Cores</a:t>
                      </a:r>
                      <a:endParaRPr lang="en-GB" sz="16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effectLst/>
                        </a:rPr>
                        <a:t>T Stage</a:t>
                      </a:r>
                      <a:endParaRPr lang="en-GB" sz="16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effectLst/>
                        </a:rPr>
                        <a:t>R Max Length</a:t>
                      </a:r>
                      <a:endParaRPr lang="en-GB" sz="16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03934782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r>
                        <a:rPr lang="en-GB" sz="1600">
                          <a:effectLst/>
                        </a:rPr>
                        <a:t>2020</a:t>
                      </a:r>
                      <a:endParaRPr lang="en-GB" sz="16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effectLst/>
                        </a:rPr>
                        <a:t>MRI strength</a:t>
                      </a:r>
                      <a:endParaRPr lang="en-GB" sz="16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effectLst/>
                        </a:rPr>
                        <a:t>PIRADS Score</a:t>
                      </a:r>
                      <a:endParaRPr lang="en-GB" sz="16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effectLst/>
                        </a:rPr>
                        <a:t>Left max length</a:t>
                      </a:r>
                      <a:endParaRPr lang="en-GB" sz="16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effectLst/>
                        </a:rPr>
                        <a:t>Likert Score</a:t>
                      </a:r>
                      <a:endParaRPr lang="en-GB" sz="16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effectLst/>
                        </a:rPr>
                        <a:t>Index Lesion Diameter</a:t>
                      </a:r>
                      <a:endParaRPr lang="en-GB" sz="16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effectLst/>
                        </a:rPr>
                        <a:t>SNS Max. Length</a:t>
                      </a:r>
                      <a:endParaRPr lang="en-GB" sz="16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effectLst/>
                        </a:rPr>
                        <a:t>SNS Cores Inv.</a:t>
                      </a:r>
                      <a:endParaRPr lang="en-GB" sz="16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effectLst/>
                        </a:rPr>
                        <a:t>Left GS</a:t>
                      </a:r>
                      <a:endParaRPr lang="en-GB" sz="16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effectLst/>
                        </a:rPr>
                        <a:t>N Stage</a:t>
                      </a:r>
                      <a:endParaRPr lang="en-GB" sz="16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GB" sz="1600" dirty="0">
                          <a:effectLst/>
                        </a:rPr>
                        <a:t>Overall Core Inv.</a:t>
                      </a:r>
                      <a:endParaRPr lang="en-GB" sz="1600" dirty="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951508036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DA6EA9D7-9414-2FF2-9C42-FB51BCCE3D9F}"/>
              </a:ext>
            </a:extLst>
          </p:cNvPr>
          <p:cNvSpPr txBox="1"/>
          <p:nvPr/>
        </p:nvSpPr>
        <p:spPr>
          <a:xfrm>
            <a:off x="416689" y="2326511"/>
            <a:ext cx="109380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GB" altLang="en-US" sz="1800" b="1" i="0" u="none" strike="noStrike" cap="none" normalizeH="0" baseline="0" dirty="0">
                <a:ln>
                  <a:noFill/>
                </a:ln>
                <a:solidFill>
                  <a:srgbClr val="231F2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.1:  Top 10 incomplete data field for SW Prostate Dashboard for year 2022, 2021 and 2020: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40577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95A239-8F39-2B88-4468-314D6E53D5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1493" y="1278169"/>
            <a:ext cx="10515600" cy="1325563"/>
          </a:xfrm>
        </p:spPr>
        <p:txBody>
          <a:bodyPr>
            <a:noAutofit/>
          </a:bodyPr>
          <a:lstStyle/>
          <a:p>
            <a:r>
              <a:rPr lang="en-GB" sz="3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W Prostate Dashboard: </a:t>
            </a:r>
            <a: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und, utilise pathway and practice intelligence </a:t>
            </a:r>
            <a:r>
              <a:rPr lang="en-GB" sz="3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</a:t>
            </a:r>
            <a: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further develop the SW Prostate dashboard</a:t>
            </a:r>
            <a:b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br>
              <a:rPr kumimoji="0" lang="en-GB" altLang="en-US" sz="3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lang="en-GB" sz="320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09AD84C-96D3-5D51-33B9-299061A413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71013" y="133760"/>
            <a:ext cx="1883827" cy="76206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A6EA9D7-9414-2FF2-9C42-FB51BCCE3D9F}"/>
              </a:ext>
            </a:extLst>
          </p:cNvPr>
          <p:cNvSpPr txBox="1"/>
          <p:nvPr/>
        </p:nvSpPr>
        <p:spPr>
          <a:xfrm>
            <a:off x="416689" y="2326511"/>
            <a:ext cx="109380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en-GB" altLang="en-US" sz="1800" b="1" i="0" u="none" strike="noStrike" cap="none" normalizeH="0" baseline="0" dirty="0">
                <a:ln>
                  <a:noFill/>
                </a:ln>
                <a:solidFill>
                  <a:srgbClr val="231F2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.2:</a:t>
            </a:r>
            <a:r>
              <a:rPr lang="en-GB" sz="1800" b="1" dirty="0">
                <a:solidFill>
                  <a:srgbClr val="231F2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Top 5 missing data by providers within SWAG for year 2022: </a:t>
            </a:r>
            <a:endParaRPr lang="en-GB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2A995605-F676-1148-659C-93D0110A31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3422977"/>
              </p:ext>
            </p:extLst>
          </p:nvPr>
        </p:nvGraphicFramePr>
        <p:xfrm>
          <a:off x="648181" y="2900204"/>
          <a:ext cx="10938074" cy="2346960"/>
        </p:xfrm>
        <a:graphic>
          <a:graphicData uri="http://schemas.openxmlformats.org/drawingml/2006/table">
            <a:tbl>
              <a:tblPr firstRow="1" firstCol="1" bandRow="1"/>
              <a:tblGrid>
                <a:gridCol w="1020452">
                  <a:extLst>
                    <a:ext uri="{9D8B030D-6E8A-4147-A177-3AD203B41FA5}">
                      <a16:colId xmlns:a16="http://schemas.microsoft.com/office/drawing/2014/main" val="1646257745"/>
                    </a:ext>
                  </a:extLst>
                </a:gridCol>
                <a:gridCol w="1463843">
                  <a:extLst>
                    <a:ext uri="{9D8B030D-6E8A-4147-A177-3AD203B41FA5}">
                      <a16:colId xmlns:a16="http://schemas.microsoft.com/office/drawing/2014/main" val="1054190804"/>
                    </a:ext>
                  </a:extLst>
                </a:gridCol>
                <a:gridCol w="1463843">
                  <a:extLst>
                    <a:ext uri="{9D8B030D-6E8A-4147-A177-3AD203B41FA5}">
                      <a16:colId xmlns:a16="http://schemas.microsoft.com/office/drawing/2014/main" val="2619467429"/>
                    </a:ext>
                  </a:extLst>
                </a:gridCol>
                <a:gridCol w="1307353">
                  <a:extLst>
                    <a:ext uri="{9D8B030D-6E8A-4147-A177-3AD203B41FA5}">
                      <a16:colId xmlns:a16="http://schemas.microsoft.com/office/drawing/2014/main" val="3320139063"/>
                    </a:ext>
                  </a:extLst>
                </a:gridCol>
                <a:gridCol w="1464930">
                  <a:extLst>
                    <a:ext uri="{9D8B030D-6E8A-4147-A177-3AD203B41FA5}">
                      <a16:colId xmlns:a16="http://schemas.microsoft.com/office/drawing/2014/main" val="831085537"/>
                    </a:ext>
                  </a:extLst>
                </a:gridCol>
                <a:gridCol w="1181291">
                  <a:extLst>
                    <a:ext uri="{9D8B030D-6E8A-4147-A177-3AD203B41FA5}">
                      <a16:colId xmlns:a16="http://schemas.microsoft.com/office/drawing/2014/main" val="3856417089"/>
                    </a:ext>
                  </a:extLst>
                </a:gridCol>
                <a:gridCol w="1342129">
                  <a:extLst>
                    <a:ext uri="{9D8B030D-6E8A-4147-A177-3AD203B41FA5}">
                      <a16:colId xmlns:a16="http://schemas.microsoft.com/office/drawing/2014/main" val="1271237630"/>
                    </a:ext>
                  </a:extLst>
                </a:gridCol>
                <a:gridCol w="1694233">
                  <a:extLst>
                    <a:ext uri="{9D8B030D-6E8A-4147-A177-3AD203B41FA5}">
                      <a16:colId xmlns:a16="http://schemas.microsoft.com/office/drawing/2014/main" val="104229190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22</a:t>
                      </a:r>
                      <a:endParaRPr lang="en-GB" sz="14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Bath </a:t>
                      </a:r>
                      <a:endParaRPr lang="en-GB" sz="14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Bristol</a:t>
                      </a:r>
                      <a:endParaRPr lang="en-GB" sz="14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Gloucester</a:t>
                      </a:r>
                      <a:endParaRPr lang="en-GB" sz="14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alisbury</a:t>
                      </a:r>
                      <a:endParaRPr lang="en-GB" sz="14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windon</a:t>
                      </a:r>
                      <a:endParaRPr lang="en-GB" sz="14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aunton</a:t>
                      </a:r>
                      <a:endParaRPr lang="en-GB" sz="14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Weston</a:t>
                      </a:r>
                      <a:endParaRPr lang="en-GB" sz="14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EA9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406783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op 1</a:t>
                      </a:r>
                      <a:endParaRPr lang="en-GB" sz="14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RI Strength</a:t>
                      </a:r>
                      <a:endParaRPr lang="en-GB" sz="14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ikert Score</a:t>
                      </a:r>
                      <a:endParaRPr lang="en-GB" sz="14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No data </a:t>
                      </a:r>
                      <a:endParaRPr lang="en-GB" sz="14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IRADS Score</a:t>
                      </a:r>
                      <a:endParaRPr lang="en-GB" sz="14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IRADS Score</a:t>
                      </a:r>
                      <a:endParaRPr lang="en-GB" sz="14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ys Cores</a:t>
                      </a:r>
                      <a:endParaRPr lang="en-GB" sz="14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Index Lesion Diameter</a:t>
                      </a:r>
                      <a:endParaRPr lang="en-GB" sz="14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402773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op 2</a:t>
                      </a:r>
                      <a:endParaRPr lang="en-GB" sz="14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IRADS Score</a:t>
                      </a:r>
                      <a:endParaRPr lang="en-GB" sz="14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Index Lesion Diameter</a:t>
                      </a:r>
                      <a:endParaRPr lang="en-GB" sz="14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No data </a:t>
                      </a:r>
                      <a:endParaRPr lang="en-GB" sz="14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Index Lesion Diameter</a:t>
                      </a:r>
                      <a:endParaRPr lang="en-GB" sz="14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N Stage</a:t>
                      </a:r>
                      <a:endParaRPr lang="en-GB" sz="14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arg Cores</a:t>
                      </a:r>
                      <a:endParaRPr lang="en-GB" sz="14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ikert Score</a:t>
                      </a:r>
                      <a:endParaRPr lang="en-GB" sz="14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5888193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op 3</a:t>
                      </a:r>
                      <a:endParaRPr lang="en-GB" sz="14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Index Lesion Diameter</a:t>
                      </a:r>
                      <a:endParaRPr lang="en-GB" sz="14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IRADS Score</a:t>
                      </a:r>
                      <a:endParaRPr lang="en-GB" sz="14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No data </a:t>
                      </a:r>
                      <a:endParaRPr lang="en-GB" sz="14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ight GS</a:t>
                      </a:r>
                      <a:endParaRPr lang="en-GB" sz="14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 Stage </a:t>
                      </a:r>
                      <a:endParaRPr lang="en-GB" sz="14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Unspec Cores</a:t>
                      </a:r>
                      <a:endParaRPr lang="en-GB" sz="14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IRADS Score</a:t>
                      </a:r>
                      <a:endParaRPr lang="en-GB" sz="14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425863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op 4</a:t>
                      </a:r>
                      <a:endParaRPr lang="en-GB" sz="14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NS Max. Length</a:t>
                      </a:r>
                      <a:endParaRPr lang="en-GB" sz="14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N Stage</a:t>
                      </a:r>
                      <a:endParaRPr lang="en-GB" sz="14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No data </a:t>
                      </a:r>
                      <a:endParaRPr lang="en-GB" sz="14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eft Max. Length</a:t>
                      </a:r>
                      <a:endParaRPr lang="en-GB" sz="14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arg. Max. Length</a:t>
                      </a:r>
                      <a:endParaRPr lang="en-GB" sz="14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RI Strength</a:t>
                      </a:r>
                      <a:endParaRPr lang="en-GB" sz="14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eft Cores Inv.  </a:t>
                      </a:r>
                      <a:endParaRPr lang="en-GB" sz="14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95844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op 5</a:t>
                      </a:r>
                      <a:endParaRPr lang="en-GB" sz="14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ikert Score</a:t>
                      </a:r>
                      <a:endParaRPr lang="en-GB" sz="14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 Stage</a:t>
                      </a:r>
                      <a:endParaRPr lang="en-GB" sz="14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No data </a:t>
                      </a:r>
                      <a:endParaRPr lang="en-GB" sz="14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eft GS</a:t>
                      </a:r>
                      <a:endParaRPr lang="en-GB" sz="14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arg. Cores Inv.</a:t>
                      </a:r>
                      <a:endParaRPr lang="en-GB" sz="14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NS Max. Length</a:t>
                      </a:r>
                      <a:endParaRPr lang="en-GB" sz="140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eft GS</a:t>
                      </a:r>
                      <a:endParaRPr lang="en-GB" sz="1400" dirty="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9187478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B8A034CF-8222-EB17-B9FA-943A98690DDD}"/>
              </a:ext>
            </a:extLst>
          </p:cNvPr>
          <p:cNvSpPr txBox="1"/>
          <p:nvPr/>
        </p:nvSpPr>
        <p:spPr>
          <a:xfrm>
            <a:off x="648181" y="5579831"/>
            <a:ext cx="609407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dirty="0"/>
              <a:t>Gloucestershire urology navigator onboarded with CM support</a:t>
            </a:r>
          </a:p>
        </p:txBody>
      </p:sp>
    </p:spTree>
    <p:extLst>
      <p:ext uri="{BB962C8B-B14F-4D97-AF65-F5344CB8AC3E}">
        <p14:creationId xmlns:p14="http://schemas.microsoft.com/office/powerpoint/2010/main" val="29605677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95A239-8F39-2B88-4468-314D6E53D5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60" y="676285"/>
            <a:ext cx="10515600" cy="1325563"/>
          </a:xfrm>
        </p:spPr>
        <p:txBody>
          <a:bodyPr>
            <a:noAutofit/>
          </a:bodyPr>
          <a:lstStyle/>
          <a:p>
            <a:r>
              <a:rPr lang="en-GB" sz="3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W Prostate Dashboard: </a:t>
            </a:r>
            <a: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und, utilise pathway and practice intelligence </a:t>
            </a:r>
            <a:r>
              <a:rPr lang="en-GB" sz="3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</a:t>
            </a:r>
            <a: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further develop the SW Prostate dashboard: NCP Deliverable Pathway analyser capability</a:t>
            </a:r>
            <a:b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br>
              <a:rPr kumimoji="0" lang="en-GB" altLang="en-US" sz="3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lang="en-GB" sz="320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09AD84C-96D3-5D51-33B9-299061A413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71013" y="133760"/>
            <a:ext cx="1883827" cy="76206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F2F4034-4C9D-E946-06C2-CA34ADEF1B4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21394" y="2001848"/>
            <a:ext cx="9363075" cy="4371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65600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95A239-8F39-2B88-4468-314D6E53D5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60" y="676285"/>
            <a:ext cx="10515600" cy="1325563"/>
          </a:xfrm>
        </p:spPr>
        <p:txBody>
          <a:bodyPr>
            <a:noAutofit/>
          </a:bodyPr>
          <a:lstStyle/>
          <a:p>
            <a:r>
              <a:rPr lang="en-GB" sz="3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W Prostate Dashboard: </a:t>
            </a:r>
            <a: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und, utilise pathway and practice intelligence </a:t>
            </a:r>
            <a:r>
              <a:rPr lang="en-GB" sz="3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</a:t>
            </a:r>
            <a: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further develop the SW Prostate dashboard: NCP Deliverable Pathway analyser capability</a:t>
            </a:r>
            <a:b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br>
              <a:rPr kumimoji="0" lang="en-GB" altLang="en-US" sz="3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lang="en-GB" sz="320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09AD84C-96D3-5D51-33B9-299061A413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71013" y="133760"/>
            <a:ext cx="1883827" cy="76206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EF32B0F-7D7B-43A1-AF9A-62C8E5D816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12788" y="1797391"/>
            <a:ext cx="8658225" cy="4791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7258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95A239-8F39-2B88-4468-314D6E53D5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26" y="-23972"/>
            <a:ext cx="10515600" cy="1325563"/>
          </a:xfrm>
        </p:spPr>
        <p:txBody>
          <a:bodyPr>
            <a:normAutofit/>
          </a:bodyPr>
          <a:lstStyle/>
          <a:p>
            <a:r>
              <a:rPr lang="en-GB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eatment Variation: NPCA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09AD84C-96D3-5D51-33B9-299061A413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71013" y="133760"/>
            <a:ext cx="1883827" cy="762066"/>
          </a:xfrm>
          <a:prstGeom prst="rect">
            <a:avLst/>
          </a:prstGeom>
        </p:spPr>
      </p:pic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2A89A071-35D2-32AB-B9F9-4CFBE55F42B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09311126"/>
              </p:ext>
            </p:extLst>
          </p:nvPr>
        </p:nvGraphicFramePr>
        <p:xfrm>
          <a:off x="381965" y="2023218"/>
          <a:ext cx="5312780" cy="44507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B955448B-3257-A6BE-C1DC-F76CC9367D95}"/>
              </a:ext>
            </a:extLst>
          </p:cNvPr>
          <p:cNvSpPr txBox="1"/>
          <p:nvPr/>
        </p:nvSpPr>
        <p:spPr>
          <a:xfrm>
            <a:off x="230625" y="1013360"/>
            <a:ext cx="1173074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"/>
            <a:r>
              <a:rPr lang="en-GB" sz="1800" b="0" i="1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‘Investigate why men with high-risk/locally advanced disease are not considered for radical treatment’ </a:t>
            </a:r>
          </a:p>
          <a:p>
            <a:r>
              <a:rPr lang="en-GB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Numerator: number of patients having radical prostatectomy, radiotherapy, or brachytherapy within 12 months of diagnosis​ </a:t>
            </a:r>
          </a:p>
          <a:p>
            <a:r>
              <a:rPr lang="en-GB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Denominator: number of men with high-risk/locally advanced* prostate cancer​</a:t>
            </a:r>
            <a:endParaRPr lang="en-GB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D637901B-4E92-9020-F174-99DAF546FA0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79310515"/>
              </p:ext>
            </p:extLst>
          </p:nvPr>
        </p:nvGraphicFramePr>
        <p:xfrm>
          <a:off x="6095999" y="2054224"/>
          <a:ext cx="5714036" cy="447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7257905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D6EECB23-0DA4-A1A3-06D3-1B5E3E282D44}"/>
              </a:ext>
            </a:extLst>
          </p:cNvPr>
          <p:cNvSpPr txBox="1"/>
          <p:nvPr/>
        </p:nvSpPr>
        <p:spPr>
          <a:xfrm>
            <a:off x="436880" y="1150745"/>
            <a:ext cx="113182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0D737621-5048-6988-7879-E3E3F085123C}"/>
              </a:ext>
            </a:extLst>
          </p:cNvPr>
          <p:cNvSpPr txBox="1">
            <a:spLocks/>
          </p:cNvSpPr>
          <p:nvPr/>
        </p:nvSpPr>
        <p:spPr>
          <a:xfrm>
            <a:off x="436880" y="135350"/>
            <a:ext cx="9183222" cy="686043"/>
          </a:xfrm>
          <a:prstGeom prst="rect">
            <a:avLst/>
          </a:prstGeom>
          <a:solidFill>
            <a:schemeClr val="accent1"/>
          </a:solidFill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50" b="1" kern="1200">
                <a:solidFill>
                  <a:srgbClr val="0070C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400" dirty="0">
                <a:solidFill>
                  <a:prstClr val="white"/>
                </a:solidFill>
                <a:latin typeface="Calibri" panose="020F0502020204030204"/>
              </a:rPr>
              <a:t>Urology CAG – National Cancer Programme 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j-ea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B46C579-6E2D-9D5F-6F2F-E625B16FF06A}"/>
              </a:ext>
            </a:extLst>
          </p:cNvPr>
          <p:cNvSpPr txBox="1"/>
          <p:nvPr/>
        </p:nvSpPr>
        <p:spPr>
          <a:xfrm>
            <a:off x="436880" y="1178084"/>
            <a:ext cx="11557896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537B864-96A3-6648-C7E9-53F24FC6295E}"/>
              </a:ext>
            </a:extLst>
          </p:cNvPr>
          <p:cNvSpPr txBox="1"/>
          <p:nvPr/>
        </p:nvSpPr>
        <p:spPr>
          <a:xfrm>
            <a:off x="436881" y="918717"/>
            <a:ext cx="77927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3.24 Treatment Variation workstream 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C2E627BE-82B9-10A0-3FDF-22BB4481F3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8469129"/>
              </p:ext>
            </p:extLst>
          </p:nvPr>
        </p:nvGraphicFramePr>
        <p:xfrm>
          <a:off x="436880" y="4541144"/>
          <a:ext cx="11114048" cy="2199199"/>
        </p:xfrm>
        <a:graphic>
          <a:graphicData uri="http://schemas.openxmlformats.org/drawingml/2006/table">
            <a:tbl>
              <a:tblPr/>
              <a:tblGrid>
                <a:gridCol w="853791">
                  <a:extLst>
                    <a:ext uri="{9D8B030D-6E8A-4147-A177-3AD203B41FA5}">
                      <a16:colId xmlns:a16="http://schemas.microsoft.com/office/drawing/2014/main" val="379834579"/>
                    </a:ext>
                  </a:extLst>
                </a:gridCol>
                <a:gridCol w="1549471">
                  <a:extLst>
                    <a:ext uri="{9D8B030D-6E8A-4147-A177-3AD203B41FA5}">
                      <a16:colId xmlns:a16="http://schemas.microsoft.com/office/drawing/2014/main" val="3374619074"/>
                    </a:ext>
                  </a:extLst>
                </a:gridCol>
                <a:gridCol w="1866069">
                  <a:extLst>
                    <a:ext uri="{9D8B030D-6E8A-4147-A177-3AD203B41FA5}">
                      <a16:colId xmlns:a16="http://schemas.microsoft.com/office/drawing/2014/main" val="3436461048"/>
                    </a:ext>
                  </a:extLst>
                </a:gridCol>
                <a:gridCol w="863859">
                  <a:extLst>
                    <a:ext uri="{9D8B030D-6E8A-4147-A177-3AD203B41FA5}">
                      <a16:colId xmlns:a16="http://schemas.microsoft.com/office/drawing/2014/main" val="3923599574"/>
                    </a:ext>
                  </a:extLst>
                </a:gridCol>
                <a:gridCol w="844224">
                  <a:extLst>
                    <a:ext uri="{9D8B030D-6E8A-4147-A177-3AD203B41FA5}">
                      <a16:colId xmlns:a16="http://schemas.microsoft.com/office/drawing/2014/main" val="2402299267"/>
                    </a:ext>
                  </a:extLst>
                </a:gridCol>
                <a:gridCol w="834409">
                  <a:extLst>
                    <a:ext uri="{9D8B030D-6E8A-4147-A177-3AD203B41FA5}">
                      <a16:colId xmlns:a16="http://schemas.microsoft.com/office/drawing/2014/main" val="2626314065"/>
                    </a:ext>
                  </a:extLst>
                </a:gridCol>
                <a:gridCol w="716609">
                  <a:extLst>
                    <a:ext uri="{9D8B030D-6E8A-4147-A177-3AD203B41FA5}">
                      <a16:colId xmlns:a16="http://schemas.microsoft.com/office/drawing/2014/main" val="3614732585"/>
                    </a:ext>
                  </a:extLst>
                </a:gridCol>
                <a:gridCol w="707584">
                  <a:extLst>
                    <a:ext uri="{9D8B030D-6E8A-4147-A177-3AD203B41FA5}">
                      <a16:colId xmlns:a16="http://schemas.microsoft.com/office/drawing/2014/main" val="4143951996"/>
                    </a:ext>
                  </a:extLst>
                </a:gridCol>
                <a:gridCol w="719508">
                  <a:extLst>
                    <a:ext uri="{9D8B030D-6E8A-4147-A177-3AD203B41FA5}">
                      <a16:colId xmlns:a16="http://schemas.microsoft.com/office/drawing/2014/main" val="2276330732"/>
                    </a:ext>
                  </a:extLst>
                </a:gridCol>
                <a:gridCol w="719508">
                  <a:extLst>
                    <a:ext uri="{9D8B030D-6E8A-4147-A177-3AD203B41FA5}">
                      <a16:colId xmlns:a16="http://schemas.microsoft.com/office/drawing/2014/main" val="2808412151"/>
                    </a:ext>
                  </a:extLst>
                </a:gridCol>
                <a:gridCol w="719508">
                  <a:extLst>
                    <a:ext uri="{9D8B030D-6E8A-4147-A177-3AD203B41FA5}">
                      <a16:colId xmlns:a16="http://schemas.microsoft.com/office/drawing/2014/main" val="3135185224"/>
                    </a:ext>
                  </a:extLst>
                </a:gridCol>
                <a:gridCol w="719508">
                  <a:extLst>
                    <a:ext uri="{9D8B030D-6E8A-4147-A177-3AD203B41FA5}">
                      <a16:colId xmlns:a16="http://schemas.microsoft.com/office/drawing/2014/main" val="15645594"/>
                    </a:ext>
                  </a:extLst>
                </a:gridCol>
              </a:tblGrid>
              <a:tr h="117556"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tric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r-2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y-2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un-2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ul-2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g-2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p-2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ct-2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-2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c-2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505662"/>
                  </a:ext>
                </a:extLst>
              </a:tr>
              <a:tr h="416119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B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en-GB" sz="10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eatments: Reduce variation in treatment across the pathway - Prostat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ctr" fontAlgn="b"/>
                      <a:r>
                        <a:rPr lang="en-GB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vestigate why men with high-risk/locally advanced disease are not considered for radical treatment </a:t>
                      </a:r>
                    </a:p>
                    <a:p>
                      <a:pPr algn="ctr" fontAlgn="b"/>
                      <a:endParaRPr lang="en-GB" sz="10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fontAlgn="b"/>
                      <a:endParaRPr lang="en-GB" sz="10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fontAlgn="b"/>
                      <a:endParaRPr lang="en-GB" sz="10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fontAlgn="b"/>
                      <a:endParaRPr lang="en-GB" sz="10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fontAlgn="b"/>
                      <a:r>
                        <a:rPr lang="en-GB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000" b="0" i="1" u="none" strike="noStrike">
                          <a:solidFill>
                            <a:srgbClr val="00B0F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000" b="0" i="1" u="none" strike="noStrike">
                          <a:solidFill>
                            <a:srgbClr val="00B0F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000" b="0" i="1" u="none" strike="noStrike">
                          <a:solidFill>
                            <a:srgbClr val="00B0F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70%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0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%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%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%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%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%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9822292"/>
                  </a:ext>
                </a:extLst>
              </a:tr>
              <a:tr h="416119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F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GB" sz="10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b"/>
                      <a:endParaRPr lang="en-GB" sz="10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n-GB" sz="1000" b="0" i="1" u="none" strike="noStrike">
                        <a:solidFill>
                          <a:srgbClr val="00B0F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n-GB" sz="1000" b="0" i="1" u="none" strike="noStrike">
                        <a:solidFill>
                          <a:srgbClr val="00B0F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n-GB" sz="1000" b="0" i="1" u="none" strike="noStrike">
                        <a:solidFill>
                          <a:srgbClr val="00B0F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/8</a:t>
                      </a:r>
                    </a:p>
                    <a:p>
                      <a:pPr algn="l" fontAlgn="t"/>
                      <a:r>
                        <a:rPr lang="en-GB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%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/8</a:t>
                      </a:r>
                    </a:p>
                    <a:p>
                      <a:pPr algn="l" fontAlgn="t"/>
                      <a:r>
                        <a:rPr lang="en-GB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%</a:t>
                      </a:r>
                    </a:p>
                    <a:p>
                      <a:pPr algn="l" fontAlgn="t"/>
                      <a:endParaRPr lang="en-GB" sz="10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/8</a:t>
                      </a:r>
                    </a:p>
                    <a:p>
                      <a:pPr algn="l" fontAlgn="t"/>
                      <a:r>
                        <a:rPr lang="en-GB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%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/20</a:t>
                      </a:r>
                    </a:p>
                    <a:p>
                      <a:pPr algn="l" fontAlgn="t"/>
                      <a:r>
                        <a:rPr lang="en-GB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%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/14</a:t>
                      </a:r>
                    </a:p>
                    <a:p>
                      <a:pPr algn="l" fontAlgn="t"/>
                      <a:r>
                        <a:rPr lang="en-GB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%</a:t>
                      </a:r>
                    </a:p>
                    <a:p>
                      <a:pPr algn="l" fontAlgn="t"/>
                      <a:endParaRPr lang="en-GB" sz="10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/11</a:t>
                      </a:r>
                    </a:p>
                    <a:p>
                      <a:pPr algn="l" fontAlgn="t"/>
                      <a:r>
                        <a:rPr lang="en-GB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%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6276119"/>
                  </a:ext>
                </a:extLst>
              </a:tr>
              <a:tr h="479166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GB" sz="10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UH*</a:t>
                      </a:r>
                    </a:p>
                    <a:p>
                      <a:pPr algn="ctr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has not been clinically validated</a:t>
                      </a:r>
                      <a:endParaRPr lang="en-GB" sz="10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GB" sz="10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b"/>
                      <a:endParaRPr lang="en-GB" sz="10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.0%</a:t>
                      </a:r>
                      <a:b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/15</a:t>
                      </a:r>
                      <a:b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.2%</a:t>
                      </a:r>
                      <a:b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/14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.8%</a:t>
                      </a:r>
                      <a:b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/16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.9%</a:t>
                      </a:r>
                      <a:b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/21</a:t>
                      </a:r>
                      <a:b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.8%</a:t>
                      </a:r>
                      <a:b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/19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.4%</a:t>
                      </a:r>
                      <a:b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/22</a:t>
                      </a:r>
                      <a:b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%</a:t>
                      </a:r>
                    </a:p>
                    <a:p>
                      <a:pPr algn="l" fontAlgn="t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/13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%</a:t>
                      </a:r>
                    </a:p>
                    <a:p>
                      <a:pPr algn="l" fontAlgn="t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/36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%</a:t>
                      </a:r>
                    </a:p>
                    <a:p>
                      <a:pPr algn="l" fontAlgn="t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/30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4090368"/>
                  </a:ext>
                </a:extLst>
              </a:tr>
              <a:tr h="191394">
                <a:tc vMerge="1">
                  <a:txBody>
                    <a:bodyPr/>
                    <a:lstStyle/>
                    <a:p>
                      <a:pPr algn="ctr" fontAlgn="ctr"/>
                      <a:endParaRPr lang="en-GB" sz="10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fontAlgn="t"/>
                      <a: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-3</a:t>
                      </a:r>
                      <a:b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 – 35</a:t>
                      </a:r>
                    </a:p>
                    <a:p>
                      <a:pPr algn="l" fontAlgn="t"/>
                      <a: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%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t"/>
                      <a: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-4</a:t>
                      </a:r>
                      <a:b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 – 35</a:t>
                      </a:r>
                    </a:p>
                    <a:p>
                      <a:pPr algn="l" fontAlgn="t"/>
                      <a: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%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t"/>
                      <a: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-2</a:t>
                      </a:r>
                      <a:b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 – 22</a:t>
                      </a:r>
                    </a:p>
                    <a:p>
                      <a:pPr algn="l" fontAlgn="t"/>
                      <a: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%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t"/>
                      <a: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- 1</a:t>
                      </a:r>
                      <a:b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 – 27</a:t>
                      </a:r>
                    </a:p>
                    <a:p>
                      <a:pPr algn="l" fontAlgn="t"/>
                      <a: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t"/>
                      <a: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- 2</a:t>
                      </a:r>
                      <a:b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 – 29</a:t>
                      </a:r>
                    </a:p>
                    <a:p>
                      <a:pPr algn="l" fontAlgn="t"/>
                      <a: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%</a:t>
                      </a:r>
                    </a:p>
                    <a:p>
                      <a:pPr algn="l" fontAlgn="t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t"/>
                      <a: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- 3</a:t>
                      </a:r>
                      <a:b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 – 27</a:t>
                      </a:r>
                    </a:p>
                    <a:p>
                      <a:pPr algn="l" fontAlgn="t"/>
                      <a: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%</a:t>
                      </a:r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t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– 6</a:t>
                      </a:r>
                    </a:p>
                    <a:p>
                      <a:pPr algn="l" fontAlgn="t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 – 14</a:t>
                      </a:r>
                    </a:p>
                    <a:p>
                      <a:pPr algn="l" fontAlgn="t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%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t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– 1</a:t>
                      </a:r>
                    </a:p>
                    <a:p>
                      <a:pPr algn="l" fontAlgn="t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 – 34</a:t>
                      </a:r>
                    </a:p>
                    <a:p>
                      <a:pPr algn="l" fontAlgn="t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t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– 1</a:t>
                      </a:r>
                    </a:p>
                    <a:p>
                      <a:pPr algn="l" fontAlgn="t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 – 14</a:t>
                      </a:r>
                    </a:p>
                    <a:p>
                      <a:pPr algn="l" fontAlgn="t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%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2527013"/>
                  </a:ext>
                </a:extLst>
              </a:tr>
              <a:tr h="242053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0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HF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GB" sz="10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b"/>
                      <a:endParaRPr lang="en-GB" sz="10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966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-3</a:t>
                      </a:r>
                      <a:b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 - 35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r>
                        <a:rPr lang="en-GB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-4</a:t>
                      </a:r>
                      <a:br>
                        <a:rPr lang="en-GB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 - 35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r>
                        <a:rPr lang="en-GB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-2</a:t>
                      </a:r>
                      <a:br>
                        <a:rPr lang="en-GB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 - 22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r>
                        <a:rPr lang="en-GB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- 1</a:t>
                      </a:r>
                      <a:br>
                        <a:rPr lang="en-GB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 - 27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r>
                        <a:rPr lang="en-GB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- 2</a:t>
                      </a:r>
                      <a:br>
                        <a:rPr lang="en-GB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 - 29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t"/>
                      <a: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- 3</a:t>
                      </a:r>
                      <a:b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 - 27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8564247"/>
                  </a:ext>
                </a:extLst>
              </a:tr>
            </a:tbl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B1D41913-7910-756A-B01D-BDCDB84764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4638712"/>
              </p:ext>
            </p:extLst>
          </p:nvPr>
        </p:nvGraphicFramePr>
        <p:xfrm>
          <a:off x="1288043" y="1342325"/>
          <a:ext cx="3334068" cy="305816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082688">
                  <a:extLst>
                    <a:ext uri="{9D8B030D-6E8A-4147-A177-3AD203B41FA5}">
                      <a16:colId xmlns:a16="http://schemas.microsoft.com/office/drawing/2014/main" val="3087855919"/>
                    </a:ext>
                  </a:extLst>
                </a:gridCol>
                <a:gridCol w="1251380">
                  <a:extLst>
                    <a:ext uri="{9D8B030D-6E8A-4147-A177-3AD203B41FA5}">
                      <a16:colId xmlns:a16="http://schemas.microsoft.com/office/drawing/2014/main" val="2564621859"/>
                    </a:ext>
                  </a:extLst>
                </a:gridCol>
              </a:tblGrid>
              <a:tr h="38227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100" kern="100" dirty="0">
                          <a:effectLst/>
                        </a:rPr>
                        <a:t>Providers NPCA </a:t>
                      </a:r>
                      <a:endParaRPr lang="en-GB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100" kern="100">
                          <a:effectLst/>
                        </a:rPr>
                        <a:t>%</a:t>
                      </a:r>
                      <a:endParaRPr lang="en-GB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362429008"/>
                  </a:ext>
                </a:extLst>
              </a:tr>
              <a:tr h="38227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100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ngland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100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9% (2023)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596368877"/>
                  </a:ext>
                </a:extLst>
              </a:tr>
              <a:tr h="38227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100" kern="100" dirty="0">
                          <a:effectLst/>
                        </a:rPr>
                        <a:t>Gloucestershire</a:t>
                      </a:r>
                      <a:endParaRPr lang="en-GB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100" kern="100" dirty="0">
                          <a:effectLst/>
                        </a:rPr>
                        <a:t>72% (2023)</a:t>
                      </a:r>
                      <a:endParaRPr lang="en-GB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37949860"/>
                  </a:ext>
                </a:extLst>
              </a:tr>
              <a:tr h="38227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100" kern="100">
                          <a:effectLst/>
                        </a:rPr>
                        <a:t>North Bristol Trust</a:t>
                      </a:r>
                      <a:endParaRPr lang="en-GB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100" kern="100" dirty="0">
                          <a:effectLst/>
                        </a:rPr>
                        <a:t>65% (2023)</a:t>
                      </a:r>
                      <a:endParaRPr lang="en-GB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22951714"/>
                  </a:ext>
                </a:extLst>
              </a:tr>
              <a:tr h="38227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100" kern="100">
                          <a:effectLst/>
                        </a:rPr>
                        <a:t>Royal United Bath</a:t>
                      </a:r>
                      <a:endParaRPr lang="en-GB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100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8% (2019)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316631726"/>
                  </a:ext>
                </a:extLst>
              </a:tr>
              <a:tr h="38227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100" kern="100">
                          <a:effectLst/>
                        </a:rPr>
                        <a:t>Salisbury</a:t>
                      </a:r>
                      <a:endParaRPr lang="en-GB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100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1% (2023)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732981844"/>
                  </a:ext>
                </a:extLst>
              </a:tr>
              <a:tr h="38227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100" kern="100">
                          <a:effectLst/>
                        </a:rPr>
                        <a:t>Taunton </a:t>
                      </a:r>
                      <a:endParaRPr lang="en-GB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100" kern="100" dirty="0">
                          <a:effectLst/>
                        </a:rPr>
                        <a:t>76% (2021)</a:t>
                      </a:r>
                      <a:endParaRPr lang="en-GB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525167441"/>
                  </a:ext>
                </a:extLst>
              </a:tr>
              <a:tr h="38227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100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Yeovil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100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5% (2023)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4890196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587506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NHS_England_Nov15">
  <a:themeElements>
    <a:clrScheme name="NHS England 2014 v2">
      <a:dk1>
        <a:srgbClr val="000000"/>
      </a:dk1>
      <a:lt1>
        <a:srgbClr val="FFFFFF"/>
      </a:lt1>
      <a:dk2>
        <a:srgbClr val="0072C6"/>
      </a:dk2>
      <a:lt2>
        <a:srgbClr val="808080"/>
      </a:lt2>
      <a:accent1>
        <a:srgbClr val="E2E2E2"/>
      </a:accent1>
      <a:accent2>
        <a:srgbClr val="C5DCDF"/>
      </a:accent2>
      <a:accent3>
        <a:srgbClr val="FFFFFF"/>
      </a:accent3>
      <a:accent4>
        <a:srgbClr val="0072C6"/>
      </a:accent4>
      <a:accent5>
        <a:srgbClr val="003893"/>
      </a:accent5>
      <a:accent6>
        <a:srgbClr val="B2C7CA"/>
      </a:accent6>
      <a:hlink>
        <a:srgbClr val="0072C6"/>
      </a:hlink>
      <a:folHlink>
        <a:srgbClr val="9CBDC8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  <a:noAutofit/>
      </a:bodyPr>
      <a:lstStyle>
        <a:defPPr marL="0" marR="0" indent="0" algn="ctr" defTabSz="889000" rtl="0" eaLnBrk="1" fontAlgn="base" latinLnBrk="0" hangingPunct="1">
          <a:defRPr kumimoji="0" sz="1400" b="0" i="0" u="none" strike="noStrike" cap="none" normalizeH="0" baseline="0" dirty="0" err="1" smtClean="0">
            <a:solidFill>
              <a:schemeClr val="tx1"/>
            </a:solidFill>
            <a:effectLst/>
            <a:latin typeface="+mn-lt"/>
            <a:cs typeface="+mn-cs"/>
          </a:defRPr>
        </a:defPPr>
      </a:lstStyle>
    </a:spDef>
    <a:ln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no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>
    <a:extraClrScheme>
      <a:clrScheme name="Letter 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3">
        <a:dk1>
          <a:srgbClr val="000000"/>
        </a:dk1>
        <a:lt1>
          <a:srgbClr val="FFFFFF"/>
        </a:lt1>
        <a:dk2>
          <a:srgbClr val="345782"/>
        </a:dk2>
        <a:lt2>
          <a:srgbClr val="808080"/>
        </a:lt2>
        <a:accent1>
          <a:srgbClr val="E2E2E2"/>
        </a:accent1>
        <a:accent2>
          <a:srgbClr val="C5DCDF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B2C7CA"/>
        </a:accent6>
        <a:hlink>
          <a:srgbClr val="5D8BA7"/>
        </a:hlink>
        <a:folHlink>
          <a:srgbClr val="9CBD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2" id="{A9979EC5-02B0-4942-BE6F-AEECA402D108}" vid="{D3EA367E-90A2-41B1-9366-311E894200A9}"/>
    </a:ext>
  </a:extLst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PCUK PPT Theme">
  <a:themeElements>
    <a:clrScheme name="PCUK colour theme">
      <a:dk1>
        <a:srgbClr val="1B1B1B"/>
      </a:dk1>
      <a:lt1>
        <a:srgbClr val="FFFFFF"/>
      </a:lt1>
      <a:dk2>
        <a:srgbClr val="1A1C1C"/>
      </a:dk2>
      <a:lt2>
        <a:srgbClr val="FFFFFF"/>
      </a:lt2>
      <a:accent1>
        <a:srgbClr val="8ED3E3"/>
      </a:accent1>
      <a:accent2>
        <a:srgbClr val="FDBA82"/>
      </a:accent2>
      <a:accent3>
        <a:srgbClr val="EADDD6"/>
      </a:accent3>
      <a:accent4>
        <a:srgbClr val="FFCCC1"/>
      </a:accent4>
      <a:accent5>
        <a:srgbClr val="05ABD4"/>
      </a:accent5>
      <a:accent6>
        <a:srgbClr val="70AD47"/>
      </a:accent6>
      <a:hlink>
        <a:srgbClr val="0563C1"/>
      </a:hlink>
      <a:folHlink>
        <a:srgbClr val="954F72"/>
      </a:folHlink>
    </a:clrScheme>
    <a:fontScheme name="02 font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600" dirty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CUK PowerPoint template.potx" id="{AB8D9F67-CEE5-45F2-901F-E363ACFEA442}" vid="{968357AF-CA19-4FD0-B4A6-F8D74484AA38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56664684AECC046B7242D31F41758BF" ma:contentTypeVersion="12" ma:contentTypeDescription="Create a new document." ma:contentTypeScope="" ma:versionID="3764603076c29c049cdda6661b700bd4">
  <xsd:schema xmlns:xsd="http://www.w3.org/2001/XMLSchema" xmlns:xs="http://www.w3.org/2001/XMLSchema" xmlns:p="http://schemas.microsoft.com/office/2006/metadata/properties" xmlns:ns2="83bf93d6-90ef-4c40-b432-3688ee462b88" xmlns:ns3="e2187767-90b3-4883-b7e5-3532ba822f20" targetNamespace="http://schemas.microsoft.com/office/2006/metadata/properties" ma:root="true" ma:fieldsID="6cf4748f08394a5c6e8b2bd0a3110e22" ns2:_="" ns3:_="">
    <xsd:import namespace="83bf93d6-90ef-4c40-b432-3688ee462b88"/>
    <xsd:import namespace="e2187767-90b3-4883-b7e5-3532ba822f2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bf93d6-90ef-4c40-b432-3688ee462b8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6c45826a-f96a-479d-b99d-67de9b08c4d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187767-90b3-4883-b7e5-3532ba822f20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7c679a50-2e02-47fd-ab01-3176f0c50c43}" ma:internalName="TaxCatchAll" ma:showField="CatchAllData" ma:web="e2187767-90b3-4883-b7e5-3532ba822f2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3bf93d6-90ef-4c40-b432-3688ee462b88">
      <Terms xmlns="http://schemas.microsoft.com/office/infopath/2007/PartnerControls"/>
    </lcf76f155ced4ddcb4097134ff3c332f>
    <TaxCatchAll xmlns="e2187767-90b3-4883-b7e5-3532ba822f20"/>
  </documentManagement>
</p:properties>
</file>

<file path=customXml/itemProps1.xml><?xml version="1.0" encoding="utf-8"?>
<ds:datastoreItem xmlns:ds="http://schemas.openxmlformats.org/officeDocument/2006/customXml" ds:itemID="{DA0E463D-F96C-4F3F-A3D4-D492D7D1120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A6C2E46-5A25-42BE-AB9B-E2000E203A6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3bf93d6-90ef-4c40-b432-3688ee462b88"/>
    <ds:schemaRef ds:uri="e2187767-90b3-4883-b7e5-3532ba822f2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15DB53A-3B9E-4924-A99B-E9231FEBBB61}">
  <ds:schemaRefs>
    <ds:schemaRef ds:uri="http://schemas.microsoft.com/office/2006/metadata/properties"/>
    <ds:schemaRef ds:uri="http://purl.org/dc/elements/1.1/"/>
    <ds:schemaRef ds:uri="e2187767-90b3-4883-b7e5-3532ba822f20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83bf93d6-90ef-4c40-b432-3688ee462b88"/>
    <ds:schemaRef ds:uri="http://schemas.openxmlformats.org/package/2006/metadata/core-properties"/>
    <ds:schemaRef ds:uri="http://purl.org/dc/dcmitype/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968</TotalTime>
  <Words>1908</Words>
  <Application>Microsoft Office PowerPoint</Application>
  <PresentationFormat>Widescreen</PresentationFormat>
  <Paragraphs>349</Paragraphs>
  <Slides>17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9" baseType="lpstr">
      <vt:lpstr>Arial</vt:lpstr>
      <vt:lpstr>Calibri</vt:lpstr>
      <vt:lpstr>Calibri Light</vt:lpstr>
      <vt:lpstr>transcript pro</vt:lpstr>
      <vt:lpstr>Trebuchet MS</vt:lpstr>
      <vt:lpstr>Wingdings</vt:lpstr>
      <vt:lpstr>Office Theme</vt:lpstr>
      <vt:lpstr>NHS_England_Nov15</vt:lpstr>
      <vt:lpstr>1_Office Theme</vt:lpstr>
      <vt:lpstr>Custom Design</vt:lpstr>
      <vt:lpstr>PCUK PPT Theme</vt:lpstr>
      <vt:lpstr>think-cell Slide</vt:lpstr>
      <vt:lpstr>National Cancer Programme Deliverables</vt:lpstr>
      <vt:lpstr>National Cancer Programme Deliverables</vt:lpstr>
      <vt:lpstr>SW Prostate Dashboard: Fund, utilise pathway and practice intelligence with further develop the SW Prostate dashboard </vt:lpstr>
      <vt:lpstr>SW Prostate Dashboard: Fund, utilise pathway and practice intelligence with further develop the SW Prostate dashboard  </vt:lpstr>
      <vt:lpstr>SW Prostate Dashboard: Fund, utilise pathway and practice intelligence with further develop the SW Prostate dashboard  </vt:lpstr>
      <vt:lpstr>SW Prostate Dashboard: Fund, utilise pathway and practice intelligence with further develop the SW Prostate dashboard: NCP Deliverable Pathway analyser capability  </vt:lpstr>
      <vt:lpstr>SW Prostate Dashboard: Fund, utilise pathway and practice intelligence with further develop the SW Prostate dashboard: NCP Deliverable Pathway analyser capability  </vt:lpstr>
      <vt:lpstr>Treatment Variation: NPCA</vt:lpstr>
      <vt:lpstr>PowerPoint Presentation</vt:lpstr>
      <vt:lpstr>National Cancer Programme Focus for Urology 24.25: COSD</vt:lpstr>
      <vt:lpstr>National Cancer Programme Focus for Urology 24.25 (COSD)</vt:lpstr>
      <vt:lpstr>PowerPoint Presentation</vt:lpstr>
      <vt:lpstr>National Cancer Programme Focus for Urology 24.25 Improvement plans</vt:lpstr>
      <vt:lpstr>National Cancer Programme Focus for Urology 24.25 Investment</vt:lpstr>
      <vt:lpstr>Cancer alliance comms  </vt:lpstr>
      <vt:lpstr>Innovation event </vt:lpstr>
      <vt:lpstr>PROSTATE CANCER UK EARLY DIAGNOSIS WEBINAR </vt:lpstr>
    </vt:vector>
  </TitlesOfParts>
  <Company>NH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WAG Cancer Alliance   Patient and Public Voice Partners Forum  9 May 2023</dc:title>
  <dc:creator>Winnie Lo</dc:creator>
  <cp:lastModifiedBy>Helen Dunderdale</cp:lastModifiedBy>
  <cp:revision>38</cp:revision>
  <dcterms:created xsi:type="dcterms:W3CDTF">2023-04-17T08:46:46Z</dcterms:created>
  <dcterms:modified xsi:type="dcterms:W3CDTF">2024-06-06T09:41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56664684AECC046B7242D31F41758BF</vt:lpwstr>
  </property>
  <property fmtid="{D5CDD505-2E9C-101B-9397-08002B2CF9AE}" pid="3" name="MediaServiceImageTags">
    <vt:lpwstr/>
  </property>
</Properties>
</file>